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9"/>
  </p:notesMasterIdLst>
  <p:sldIdLst>
    <p:sldId id="256" r:id="rId2"/>
    <p:sldId id="257" r:id="rId3"/>
    <p:sldId id="259" r:id="rId4"/>
    <p:sldId id="260" r:id="rId5"/>
    <p:sldId id="305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304" r:id="rId14"/>
    <p:sldId id="291" r:id="rId15"/>
    <p:sldId id="272" r:id="rId16"/>
    <p:sldId id="294" r:id="rId17"/>
    <p:sldId id="277" r:id="rId18"/>
    <p:sldId id="295" r:id="rId19"/>
    <p:sldId id="271" r:id="rId20"/>
    <p:sldId id="298" r:id="rId21"/>
    <p:sldId id="299" r:id="rId22"/>
    <p:sldId id="301" r:id="rId23"/>
    <p:sldId id="300" r:id="rId24"/>
    <p:sldId id="296" r:id="rId25"/>
    <p:sldId id="273" r:id="rId26"/>
    <p:sldId id="278" r:id="rId27"/>
    <p:sldId id="293" r:id="rId28"/>
  </p:sldIdLst>
  <p:sldSz cx="9144000" cy="5143500" type="screen16x9"/>
  <p:notesSz cx="6858000" cy="9144000"/>
  <p:embeddedFontLst>
    <p:embeddedFont>
      <p:font typeface="Barlow" panose="02010600030101010101" charset="0"/>
      <p:regular r:id="rId30"/>
      <p:bold r:id="rId31"/>
      <p:italic r:id="rId32"/>
      <p:boldItalic r:id="rId33"/>
    </p:embeddedFont>
    <p:embeddedFont>
      <p:font typeface="Barlow Light" panose="02010600030101010101" charset="0"/>
      <p:regular r:id="rId34"/>
      <p:bold r:id="rId35"/>
      <p:italic r:id="rId36"/>
      <p:boldItalic r:id="rId37"/>
    </p:embeddedFont>
    <p:embeddedFont>
      <p:font typeface="Barlow SemiBold" panose="02010600030101010101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Montserrat" panose="02010600030101010101" charset="0"/>
      <p:regular r:id="rId50"/>
      <p:bold r:id="rId51"/>
      <p:italic r:id="rId52"/>
      <p:boldItalic r:id="rId53"/>
    </p:embeddedFont>
    <p:embeddedFont>
      <p:font typeface="Raleway" panose="02010600030101010101" charset="0"/>
      <p:regular r:id="rId54"/>
      <p:bold r:id="rId55"/>
      <p:italic r:id="rId56"/>
      <p:boldItalic r:id="rId57"/>
    </p:embeddedFont>
    <p:embeddedFont>
      <p:font typeface="Raleway Thin" panose="02010600030101010101" charset="0"/>
      <p:regular r:id="rId58"/>
      <p:bold r:id="rId59"/>
      <p:italic r:id="rId60"/>
      <p:boldItalic r:id="rId6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134" dt="2021-02-18T02:45:01.098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226" autoAdjust="0"/>
  </p:normalViewPr>
  <p:slideViewPr>
    <p:cSldViewPr snapToGrid="0">
      <p:cViewPr varScale="1">
        <p:scale>
          <a:sx n="119" d="100"/>
          <a:sy n="119" d="100"/>
        </p:scale>
        <p:origin x="56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font" Target="fonts/font32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font" Target="fonts/font2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" Target="slides/slide9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2:48:28.874" v="6723" actId="1076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 modAnim">
        <pc:chgData name="Thao Hoang" userId="0e23db62feec2a5d" providerId="LiveId" clId="{3FBBEF04-9D5F-4ECB-BDEB-5AF90A52C1C7}" dt="2021-02-18T02:28:32.800" v="6362" actId="20577"/>
        <pc:sldMkLst>
          <pc:docMk/>
          <pc:sldMk cId="0" sldId="261"/>
        </pc:sldMkLst>
        <pc:spChg chg="add mod">
          <ac:chgData name="Thao Hoang" userId="0e23db62feec2a5d" providerId="LiveId" clId="{3FBBEF04-9D5F-4ECB-BDEB-5AF90A52C1C7}" dt="2021-02-18T02:23:22.404" v="6285" actId="1076"/>
          <ac:spMkLst>
            <pc:docMk/>
            <pc:sldMk cId="0" sldId="261"/>
            <ac:spMk id="2" creationId="{401E47C5-8EF9-4704-9209-3BF2CABAF113}"/>
          </ac:spMkLst>
        </pc:spChg>
        <pc:spChg chg="add mod">
          <ac:chgData name="Thao Hoang" userId="0e23db62feec2a5d" providerId="LiveId" clId="{3FBBEF04-9D5F-4ECB-BDEB-5AF90A52C1C7}" dt="2021-02-18T02:28:32.800" v="6362" actId="20577"/>
          <ac:spMkLst>
            <pc:docMk/>
            <pc:sldMk cId="0" sldId="261"/>
            <ac:spMk id="3" creationId="{7FD13EBF-E775-42E4-9EBE-ED8DA972E26E}"/>
          </ac:spMkLst>
        </pc:spChg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8T02:30:10.448" v="6380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8T02:30:10.448" v="6380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2:48:28.874" v="6723" actId="1076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2.061" v="6720" actId="1076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7.036" v="6721" actId="1076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07.662" v="6719" actId="1076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7:35.557" v="6716" actId="1076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2.452" v="6722" actId="1076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8.874" v="6723" actId="1076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 ord modAnim">
        <pc:chgData name="Thao Hoang" userId="0e23db62feec2a5d" providerId="LiveId" clId="{3FBBEF04-9D5F-4ECB-BDEB-5AF90A52C1C7}" dt="2021-02-18T02:17:23.479" v="62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8T02:29:43.844" v="6370" actId="164"/>
        <pc:sldMkLst>
          <pc:docMk/>
          <pc:sldMk cId="1092614026" sldId="288"/>
        </pc:sldMkLst>
        <pc:spChg chg="add mod ord">
          <ac:chgData name="Thao Hoang" userId="0e23db62feec2a5d" providerId="LiveId" clId="{3FBBEF04-9D5F-4ECB-BDEB-5AF90A52C1C7}" dt="2021-02-18T02:29:43.844" v="6370" actId="164"/>
          <ac:spMkLst>
            <pc:docMk/>
            <pc:sldMk cId="1092614026" sldId="288"/>
            <ac:spMk id="2" creationId="{9197AE2F-DC91-45A6-9487-A9F73593EDE9}"/>
          </ac:spMkLst>
        </pc:spChg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grpChg chg="add mod">
          <ac:chgData name="Thao Hoang" userId="0e23db62feec2a5d" providerId="LiveId" clId="{3FBBEF04-9D5F-4ECB-BDEB-5AF90A52C1C7}" dt="2021-02-18T02:29:43.844" v="6370" actId="164"/>
          <ac:grpSpMkLst>
            <pc:docMk/>
            <pc:sldMk cId="1092614026" sldId="288"/>
            <ac:grpSpMk id="3" creationId="{5BC5FDD6-8BB8-4930-B127-7AB3E8154E04}"/>
          </ac:grpSpMkLst>
        </pc:grpChg>
        <pc:picChg chg="add mod ord">
          <ac:chgData name="Thao Hoang" userId="0e23db62feec2a5d" providerId="LiveId" clId="{3FBBEF04-9D5F-4ECB-BDEB-5AF90A52C1C7}" dt="2021-02-18T02:29:43.844" v="6370" actId="164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modSp add mod">
        <pc:chgData name="Thao Hoang" userId="0e23db62feec2a5d" providerId="LiveId" clId="{3FBBEF04-9D5F-4ECB-BDEB-5AF90A52C1C7}" dt="2021-02-18T02:36:31.474" v="6626" actId="20577"/>
        <pc:sldMkLst>
          <pc:docMk/>
          <pc:sldMk cId="195707369" sldId="292"/>
        </pc:sldMkLst>
        <pc:spChg chg="mod">
          <ac:chgData name="Thao Hoang" userId="0e23db62feec2a5d" providerId="LiveId" clId="{3FBBEF04-9D5F-4ECB-BDEB-5AF90A52C1C7}" dt="2021-02-18T02:36:31.474" v="6626" actId="20577"/>
          <ac:spMkLst>
            <pc:docMk/>
            <pc:sldMk cId="195707369" sldId="292"/>
            <ac:spMk id="3" creationId="{5B4C4001-629E-4272-9992-28BCC66AA423}"/>
          </ac:spMkLst>
        </pc:spChg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8T02:35:13.138" v="6521" actId="1036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8T02:35:00.232" v="6502" actId="6549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8T02:33:20.672" v="6446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8T02:33:30.590" v="6447" actId="1076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Chg chg="addSp delSp modSp add mod modClrScheme modAnim chgLayout">
        <pc:chgData name="Thao Hoang" userId="0e23db62feec2a5d" providerId="LiveId" clId="{3FBBEF04-9D5F-4ECB-BDEB-5AF90A52C1C7}" dt="2021-02-18T02:45:47.810" v="6709" actId="14100"/>
        <pc:sldMkLst>
          <pc:docMk/>
          <pc:sldMk cId="2310393300" sldId="304"/>
        </pc:sldMkLst>
        <pc:spChg chg="add del mod ord">
          <ac:chgData name="Thao Hoang" userId="0e23db62feec2a5d" providerId="LiveId" clId="{3FBBEF04-9D5F-4ECB-BDEB-5AF90A52C1C7}" dt="2021-02-18T02:42:01.096" v="6632" actId="478"/>
          <ac:spMkLst>
            <pc:docMk/>
            <pc:sldMk cId="2310393300" sldId="304"/>
            <ac:spMk id="2" creationId="{6BDE1861-02DF-4155-BD60-0EB37A4998BF}"/>
          </ac:spMkLst>
        </pc:spChg>
        <pc:spChg chg="del">
          <ac:chgData name="Thao Hoang" userId="0e23db62feec2a5d" providerId="LiveId" clId="{3FBBEF04-9D5F-4ECB-BDEB-5AF90A52C1C7}" dt="2021-02-18T02:14:25.138" v="6206" actId="478"/>
          <ac:spMkLst>
            <pc:docMk/>
            <pc:sldMk cId="2310393300" sldId="304"/>
            <ac:spMk id="3" creationId="{458A2F9D-7EF0-47C9-8717-57997AC2B44D}"/>
          </ac:spMkLst>
        </pc:spChg>
        <pc:spChg chg="add del mod">
          <ac:chgData name="Thao Hoang" userId="0e23db62feec2a5d" providerId="LiveId" clId="{3FBBEF04-9D5F-4ECB-BDEB-5AF90A52C1C7}" dt="2021-02-18T02:14:26.727" v="6207" actId="478"/>
          <ac:spMkLst>
            <pc:docMk/>
            <pc:sldMk cId="2310393300" sldId="304"/>
            <ac:spMk id="4" creationId="{126C3872-B348-433A-AF7F-6E41A0D31EEE}"/>
          </ac:spMkLst>
        </pc:spChg>
        <pc:spChg chg="add mod">
          <ac:chgData name="Thao Hoang" userId="0e23db62feec2a5d" providerId="LiveId" clId="{3FBBEF04-9D5F-4ECB-BDEB-5AF90A52C1C7}" dt="2021-02-18T02:45:47.810" v="6709" actId="14100"/>
          <ac:spMkLst>
            <pc:docMk/>
            <pc:sldMk cId="2310393300" sldId="304"/>
            <ac:spMk id="4" creationId="{532CDF93-834D-4193-9970-FCE1DCC7684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0" creationId="{CFF7ED41-45D9-4499-8E1C-83BDC454DE3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1" creationId="{0EFF325E-FBF2-4B65-8FD6-3AD25F8DD2D6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2" creationId="{02A21D05-4096-470E-A575-068EABC933F8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3" creationId="{5417F13B-3E36-41F7-A97C-ADB31016094F}"/>
          </ac:spMkLst>
        </pc:spChg>
        <pc:spChg chg="mod ord">
          <ac:chgData name="Thao Hoang" userId="0e23db62feec2a5d" providerId="LiveId" clId="{3FBBEF04-9D5F-4ECB-BDEB-5AF90A52C1C7}" dt="2021-02-18T02:45:13.612" v="6703" actId="1076"/>
          <ac:spMkLst>
            <pc:docMk/>
            <pc:sldMk cId="2310393300" sldId="304"/>
            <ac:spMk id="1006" creationId="{00000000-0000-0000-0000-000000000000}"/>
          </ac:spMkLst>
        </pc:spChg>
        <pc:spChg chg="mod ord">
          <ac:chgData name="Thao Hoang" userId="0e23db62feec2a5d" providerId="LiveId" clId="{3FBBEF04-9D5F-4ECB-BDEB-5AF90A52C1C7}" dt="2021-02-18T02:41:41.835" v="6627" actId="700"/>
          <ac:spMkLst>
            <pc:docMk/>
            <pc:sldMk cId="2310393300" sldId="304"/>
            <ac:spMk id="1009" creationId="{00000000-0000-0000-0000-000000000000}"/>
          </ac:spMkLst>
        </pc:s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3" creationId="{192AB5B6-2C8E-4E56-8A8C-E160D2E3D314}"/>
          </ac:grpSpMkLst>
        </pc:gr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9" creationId="{D3D64C54-7F90-4380-AF4C-113FF61E1943}"/>
          </ac:grpSpMkLst>
        </pc:grpChg>
        <pc:picChg chg="del">
          <ac:chgData name="Thao Hoang" userId="0e23db62feec2a5d" providerId="LiveId" clId="{3FBBEF04-9D5F-4ECB-BDEB-5AF90A52C1C7}" dt="2021-02-18T02:14:22.037" v="6205" actId="478"/>
          <ac:picMkLst>
            <pc:docMk/>
            <pc:sldMk cId="2310393300" sldId="304"/>
            <ac:picMk id="8" creationId="{4166A587-82EE-4D7E-999F-D497863AAE1C}"/>
          </ac:picMkLst>
        </pc:picChg>
        <pc:picChg chg="add mod">
          <ac:chgData name="Thao Hoang" userId="0e23db62feec2a5d" providerId="LiveId" clId="{3FBBEF04-9D5F-4ECB-BDEB-5AF90A52C1C7}" dt="2021-02-18T02:45:01.097" v="6702" actId="164"/>
          <ac:picMkLst>
            <pc:docMk/>
            <pc:sldMk cId="2310393300" sldId="304"/>
            <ac:picMk id="14" creationId="{BB363BE6-6A7D-4FB7-BE66-E701DF3C5CFD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681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1712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image" Target="../media/image12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5" Type="http://schemas.openxmlformats.org/officeDocument/2006/relationships/hyperlink" Target="http://datajob.site/" TargetMode="Externa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989" y="1933153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BC5FDD6-8BB8-4930-B127-7AB3E8154E04}"/>
              </a:ext>
            </a:extLst>
          </p:cNvPr>
          <p:cNvGrpSpPr/>
          <p:nvPr/>
        </p:nvGrpSpPr>
        <p:grpSpPr>
          <a:xfrm>
            <a:off x="711875" y="1291771"/>
            <a:ext cx="5957439" cy="3674804"/>
            <a:chOff x="2962656" y="184946"/>
            <a:chExt cx="5992923" cy="4716238"/>
          </a:xfrm>
        </p:grpSpPr>
        <p:pic>
          <p:nvPicPr>
            <p:cNvPr id="7" name="图片 4">
              <a:extLst>
                <a:ext uri="{FF2B5EF4-FFF2-40B4-BE49-F238E27FC236}">
                  <a16:creationId xmlns:a16="http://schemas.microsoft.com/office/drawing/2014/main" id="{CCCD3D14-9E36-4F15-8AC2-EBD730ADF68F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2962656" y="184946"/>
              <a:ext cx="5992923" cy="4716238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97AE2F-DC91-45A6-9487-A9F73593EDE9}"/>
                </a:ext>
              </a:extLst>
            </p:cNvPr>
            <p:cNvSpPr/>
            <p:nvPr/>
          </p:nvSpPr>
          <p:spPr>
            <a:xfrm>
              <a:off x="7169285" y="242316"/>
              <a:ext cx="1245141" cy="1759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R</a:t>
            </a:r>
            <a:r>
              <a:rPr lang="en-CA" sz="2000" dirty="0"/>
              <a:t>e</a:t>
            </a:r>
            <a:r>
              <a:rPr lang="en" sz="2000" dirty="0"/>
              <a:t>lational 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9406" y="1545921"/>
            <a:ext cx="2232946" cy="2640900"/>
          </a:xfrm>
        </p:spPr>
        <p:txBody>
          <a:bodyPr/>
          <a:lstStyle/>
          <a:p>
            <a:r>
              <a:rPr lang="en-CA" sz="1600" dirty="0"/>
              <a:t>Related by: </a:t>
            </a:r>
          </a:p>
          <a:p>
            <a:pPr lvl="1"/>
            <a:r>
              <a:rPr lang="en-CA" sz="1600" dirty="0"/>
              <a:t>Country</a:t>
            </a:r>
          </a:p>
          <a:p>
            <a:pPr lvl="1"/>
            <a:r>
              <a:rPr lang="en-CA" sz="1600" dirty="0"/>
              <a:t>Job type </a:t>
            </a:r>
          </a:p>
          <a:p>
            <a:pPr lvl="1"/>
            <a:r>
              <a:rPr lang="en-CA" sz="1600" dirty="0"/>
              <a:t>Location </a:t>
            </a:r>
            <a:br>
              <a:rPr lang="en-CA" sz="1600" dirty="0"/>
            </a:br>
            <a:r>
              <a:rPr lang="en-CA" sz="1600" dirty="0"/>
              <a:t>(City, State) 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90146" y="1047656"/>
            <a:ext cx="5921829" cy="382339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sp>
        <p:nvSpPr>
          <p:cNvPr id="1006" name="Google Shape;1006;p21"/>
          <p:cNvSpPr txBox="1">
            <a:spLocks noGrp="1"/>
          </p:cNvSpPr>
          <p:nvPr>
            <p:ph type="title" idx="4294967295"/>
          </p:nvPr>
        </p:nvSpPr>
        <p:spPr>
          <a:xfrm>
            <a:off x="225353" y="1945634"/>
            <a:ext cx="3667125" cy="108267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bg1"/>
                </a:solidFill>
              </a:rPr>
              <a:t>Screenshot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of the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dashboard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9" name="Google Shape;2020;p33">
            <a:extLst>
              <a:ext uri="{FF2B5EF4-FFF2-40B4-BE49-F238E27FC236}">
                <a16:creationId xmlns:a16="http://schemas.microsoft.com/office/drawing/2014/main" id="{D3D64C54-7F90-4380-AF4C-113FF61E1943}"/>
              </a:ext>
            </a:extLst>
          </p:cNvPr>
          <p:cNvGrpSpPr/>
          <p:nvPr/>
        </p:nvGrpSpPr>
        <p:grpSpPr>
          <a:xfrm>
            <a:off x="1407446" y="647278"/>
            <a:ext cx="8109416" cy="3848943"/>
            <a:chOff x="1177450" y="241631"/>
            <a:chExt cx="6173152" cy="3616776"/>
          </a:xfrm>
        </p:grpSpPr>
        <p:sp>
          <p:nvSpPr>
            <p:cNvPr id="10" name="Google Shape;2021;p33">
              <a:extLst>
                <a:ext uri="{FF2B5EF4-FFF2-40B4-BE49-F238E27FC236}">
                  <a16:creationId xmlns:a16="http://schemas.microsoft.com/office/drawing/2014/main" id="{CFF7ED41-45D9-4499-8E1C-83BDC454DE3A}"/>
                </a:ext>
              </a:extLst>
            </p:cNvPr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022;p33">
              <a:extLst>
                <a:ext uri="{FF2B5EF4-FFF2-40B4-BE49-F238E27FC236}">
                  <a16:creationId xmlns:a16="http://schemas.microsoft.com/office/drawing/2014/main" id="{0EFF325E-FBF2-4B65-8FD6-3AD25F8DD2D6}"/>
                </a:ext>
              </a:extLst>
            </p:cNvPr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2023;p33">
              <a:extLst>
                <a:ext uri="{FF2B5EF4-FFF2-40B4-BE49-F238E27FC236}">
                  <a16:creationId xmlns:a16="http://schemas.microsoft.com/office/drawing/2014/main" id="{02A21D05-4096-470E-A575-068EABC933F8}"/>
                </a:ext>
              </a:extLst>
            </p:cNvPr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2024;p33">
              <a:extLst>
                <a:ext uri="{FF2B5EF4-FFF2-40B4-BE49-F238E27FC236}">
                  <a16:creationId xmlns:a16="http://schemas.microsoft.com/office/drawing/2014/main" id="{5417F13B-3E36-41F7-A97C-ADB31016094F}"/>
                </a:ext>
              </a:extLst>
            </p:cNvPr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32CDF93-834D-4193-9970-FCE1DCC7684A}"/>
              </a:ext>
            </a:extLst>
          </p:cNvPr>
          <p:cNvSpPr/>
          <p:nvPr/>
        </p:nvSpPr>
        <p:spPr>
          <a:xfrm rot="5400000">
            <a:off x="-40734" y="1015509"/>
            <a:ext cx="817124" cy="66040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DD01F08-86AD-46B5-92EE-FBB7F0C446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9316" y="855353"/>
            <a:ext cx="6356412" cy="325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393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7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036163" y="1241117"/>
            <a:ext cx="5562280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505027" y="1556233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405093" y="277291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</a:rPr>
              <a:t>Data Job Dashboard</a:t>
            </a:r>
          </a:p>
          <a:p>
            <a:r>
              <a:rPr lang="en-US" altLang="zh-CN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sted by Heroku</a:t>
            </a:r>
            <a:endParaRPr lang="en-CA" sz="1600" dirty="0">
              <a:solidFill>
                <a:schemeClr val="bg1"/>
              </a:solidFill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pic>
        <p:nvPicPr>
          <p:cNvPr id="40" name="图片 39">
            <a:extLst>
              <a:ext uri="{FF2B5EF4-FFF2-40B4-BE49-F238E27FC236}">
                <a16:creationId xmlns:a16="http://schemas.microsoft.com/office/drawing/2014/main" id="{52732C86-A72A-4A12-A1C3-1616F8E71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1121" y="1364284"/>
            <a:ext cx="4418704" cy="2259591"/>
          </a:xfrm>
          <a:prstGeom prst="rect">
            <a:avLst/>
          </a:prstGeom>
        </p:spPr>
      </p:pic>
      <p:sp>
        <p:nvSpPr>
          <p:cNvPr id="41" name="Subtitle 2">
            <a:extLst>
              <a:ext uri="{FF2B5EF4-FFF2-40B4-BE49-F238E27FC236}">
                <a16:creationId xmlns:a16="http://schemas.microsoft.com/office/drawing/2014/main" id="{25249F7C-D637-4C66-9D0E-4CD96A3A90BE}"/>
              </a:ext>
            </a:extLst>
          </p:cNvPr>
          <p:cNvSpPr txBox="1">
            <a:spLocks/>
          </p:cNvSpPr>
          <p:nvPr/>
        </p:nvSpPr>
        <p:spPr>
          <a:xfrm>
            <a:off x="405093" y="3486732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altLang="zh-CN" sz="2400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</a:t>
            </a:r>
            <a:r>
              <a:rPr lang="en-US" altLang="zh-CN" sz="2400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job.site</a:t>
            </a:r>
            <a:endParaRPr lang="en-US" altLang="zh-CN" sz="2400" dirty="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4352" y="1560715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  <p:grpSp>
        <p:nvGrpSpPr>
          <p:cNvPr id="178" name="Google Shape;2228;p37">
            <a:extLst>
              <a:ext uri="{FF2B5EF4-FFF2-40B4-BE49-F238E27FC236}">
                <a16:creationId xmlns:a16="http://schemas.microsoft.com/office/drawing/2014/main" id="{F6238C9F-0BC1-47B0-97AD-072BC6D849F9}"/>
              </a:ext>
            </a:extLst>
          </p:cNvPr>
          <p:cNvGrpSpPr/>
          <p:nvPr/>
        </p:nvGrpSpPr>
        <p:grpSpPr>
          <a:xfrm>
            <a:off x="5114340" y="1005841"/>
            <a:ext cx="3046679" cy="2998358"/>
            <a:chOff x="2012475" y="393272"/>
            <a:chExt cx="4440240" cy="4609126"/>
          </a:xfrm>
        </p:grpSpPr>
        <p:sp>
          <p:nvSpPr>
            <p:cNvPr id="179" name="Google Shape;2229;p37">
              <a:extLst>
                <a:ext uri="{FF2B5EF4-FFF2-40B4-BE49-F238E27FC236}">
                  <a16:creationId xmlns:a16="http://schemas.microsoft.com/office/drawing/2014/main" id="{95E0599E-253A-4579-9C42-E7292D5C2721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30;p37">
              <a:extLst>
                <a:ext uri="{FF2B5EF4-FFF2-40B4-BE49-F238E27FC236}">
                  <a16:creationId xmlns:a16="http://schemas.microsoft.com/office/drawing/2014/main" id="{E0CE2170-0BBB-480F-96A5-12920318E00E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31;p37">
              <a:extLst>
                <a:ext uri="{FF2B5EF4-FFF2-40B4-BE49-F238E27FC236}">
                  <a16:creationId xmlns:a16="http://schemas.microsoft.com/office/drawing/2014/main" id="{D9C0528A-C144-4696-8B5E-B03A0092B5C8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32;p37">
              <a:extLst>
                <a:ext uri="{FF2B5EF4-FFF2-40B4-BE49-F238E27FC236}">
                  <a16:creationId xmlns:a16="http://schemas.microsoft.com/office/drawing/2014/main" id="{C7C054E2-F8BF-4412-A3E4-4F9760CFE3FA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233;p37">
              <a:extLst>
                <a:ext uri="{FF2B5EF4-FFF2-40B4-BE49-F238E27FC236}">
                  <a16:creationId xmlns:a16="http://schemas.microsoft.com/office/drawing/2014/main" id="{327857DB-2584-4005-83B2-12388CCB98D5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234;p37">
              <a:extLst>
                <a:ext uri="{FF2B5EF4-FFF2-40B4-BE49-F238E27FC236}">
                  <a16:creationId xmlns:a16="http://schemas.microsoft.com/office/drawing/2014/main" id="{88FDB8C9-2E71-4BE9-BB08-A52802A40968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235;p37">
              <a:extLst>
                <a:ext uri="{FF2B5EF4-FFF2-40B4-BE49-F238E27FC236}">
                  <a16:creationId xmlns:a16="http://schemas.microsoft.com/office/drawing/2014/main" id="{01B45DD1-E42E-447C-BDC0-C36B57194C56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236;p37">
              <a:extLst>
                <a:ext uri="{FF2B5EF4-FFF2-40B4-BE49-F238E27FC236}">
                  <a16:creationId xmlns:a16="http://schemas.microsoft.com/office/drawing/2014/main" id="{4499938B-8209-42BB-B8BB-24D80E04BD6A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237;p37">
              <a:extLst>
                <a:ext uri="{FF2B5EF4-FFF2-40B4-BE49-F238E27FC236}">
                  <a16:creationId xmlns:a16="http://schemas.microsoft.com/office/drawing/2014/main" id="{4542DDD6-E4D9-4D06-B701-393449A5A96B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238;p37">
              <a:extLst>
                <a:ext uri="{FF2B5EF4-FFF2-40B4-BE49-F238E27FC236}">
                  <a16:creationId xmlns:a16="http://schemas.microsoft.com/office/drawing/2014/main" id="{B8B2C1BB-6102-4524-BAA8-EA0CAA76E56A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239;p37">
              <a:extLst>
                <a:ext uri="{FF2B5EF4-FFF2-40B4-BE49-F238E27FC236}">
                  <a16:creationId xmlns:a16="http://schemas.microsoft.com/office/drawing/2014/main" id="{130F06A1-057B-4132-962F-8767140EBD39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240;p37">
              <a:extLst>
                <a:ext uri="{FF2B5EF4-FFF2-40B4-BE49-F238E27FC236}">
                  <a16:creationId xmlns:a16="http://schemas.microsoft.com/office/drawing/2014/main" id="{DF16AC2E-00FA-49CE-8F77-69736047E60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241;p37">
              <a:extLst>
                <a:ext uri="{FF2B5EF4-FFF2-40B4-BE49-F238E27FC236}">
                  <a16:creationId xmlns:a16="http://schemas.microsoft.com/office/drawing/2014/main" id="{1FC18396-601B-4B87-B670-53BC791CFDA3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242;p37">
              <a:extLst>
                <a:ext uri="{FF2B5EF4-FFF2-40B4-BE49-F238E27FC236}">
                  <a16:creationId xmlns:a16="http://schemas.microsoft.com/office/drawing/2014/main" id="{F48237C3-1D77-4BF6-B61C-C63EAE268958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243;p37">
              <a:extLst>
                <a:ext uri="{FF2B5EF4-FFF2-40B4-BE49-F238E27FC236}">
                  <a16:creationId xmlns:a16="http://schemas.microsoft.com/office/drawing/2014/main" id="{89E35091-A3D5-447E-A30A-4F5A8815DB4D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244;p37">
              <a:extLst>
                <a:ext uri="{FF2B5EF4-FFF2-40B4-BE49-F238E27FC236}">
                  <a16:creationId xmlns:a16="http://schemas.microsoft.com/office/drawing/2014/main" id="{FB4B7C84-D1AD-48FB-B1F2-BC11030E018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245;p37">
              <a:extLst>
                <a:ext uri="{FF2B5EF4-FFF2-40B4-BE49-F238E27FC236}">
                  <a16:creationId xmlns:a16="http://schemas.microsoft.com/office/drawing/2014/main" id="{2636C426-B3DD-4BB8-993F-6D2C5ACAC0DD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246;p37">
              <a:extLst>
                <a:ext uri="{FF2B5EF4-FFF2-40B4-BE49-F238E27FC236}">
                  <a16:creationId xmlns:a16="http://schemas.microsoft.com/office/drawing/2014/main" id="{B3F1C715-17BC-4608-AABA-11B9F68D8C45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247;p37">
              <a:extLst>
                <a:ext uri="{FF2B5EF4-FFF2-40B4-BE49-F238E27FC236}">
                  <a16:creationId xmlns:a16="http://schemas.microsoft.com/office/drawing/2014/main" id="{0B858C9A-DEAE-47D1-BBFC-FCAD65EE2757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248;p37">
              <a:extLst>
                <a:ext uri="{FF2B5EF4-FFF2-40B4-BE49-F238E27FC236}">
                  <a16:creationId xmlns:a16="http://schemas.microsoft.com/office/drawing/2014/main" id="{8287CBF5-5DA7-4599-9C69-7D2FFB3A493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249;p37">
              <a:extLst>
                <a:ext uri="{FF2B5EF4-FFF2-40B4-BE49-F238E27FC236}">
                  <a16:creationId xmlns:a16="http://schemas.microsoft.com/office/drawing/2014/main" id="{20C03030-289B-446E-96BF-4467556B8172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250;p37">
              <a:extLst>
                <a:ext uri="{FF2B5EF4-FFF2-40B4-BE49-F238E27FC236}">
                  <a16:creationId xmlns:a16="http://schemas.microsoft.com/office/drawing/2014/main" id="{8F10C4BF-F75A-4434-8727-8E0CC00AB47A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51;p37">
              <a:extLst>
                <a:ext uri="{FF2B5EF4-FFF2-40B4-BE49-F238E27FC236}">
                  <a16:creationId xmlns:a16="http://schemas.microsoft.com/office/drawing/2014/main" id="{8526DF76-C360-4A2C-958F-93E3613F8B2B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52;p37">
              <a:extLst>
                <a:ext uri="{FF2B5EF4-FFF2-40B4-BE49-F238E27FC236}">
                  <a16:creationId xmlns:a16="http://schemas.microsoft.com/office/drawing/2014/main" id="{06650EC1-2A5D-4728-9D63-BB342AC90704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53;p37">
              <a:extLst>
                <a:ext uri="{FF2B5EF4-FFF2-40B4-BE49-F238E27FC236}">
                  <a16:creationId xmlns:a16="http://schemas.microsoft.com/office/drawing/2014/main" id="{3387EC3D-E725-46EF-B28F-04A5E311EB25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54;p37">
              <a:extLst>
                <a:ext uri="{FF2B5EF4-FFF2-40B4-BE49-F238E27FC236}">
                  <a16:creationId xmlns:a16="http://schemas.microsoft.com/office/drawing/2014/main" id="{78EE6749-8435-410C-BC4A-F560C4EB7639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55;p37">
              <a:extLst>
                <a:ext uri="{FF2B5EF4-FFF2-40B4-BE49-F238E27FC236}">
                  <a16:creationId xmlns:a16="http://schemas.microsoft.com/office/drawing/2014/main" id="{D02580C8-3E8D-4794-A433-23E43E7AE815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256;p37">
              <a:extLst>
                <a:ext uri="{FF2B5EF4-FFF2-40B4-BE49-F238E27FC236}">
                  <a16:creationId xmlns:a16="http://schemas.microsoft.com/office/drawing/2014/main" id="{BA665A66-247A-4F03-96E4-FB500DD03C25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257;p37">
              <a:extLst>
                <a:ext uri="{FF2B5EF4-FFF2-40B4-BE49-F238E27FC236}">
                  <a16:creationId xmlns:a16="http://schemas.microsoft.com/office/drawing/2014/main" id="{F5D663AE-9BB0-4C4D-A658-4664938C9961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258;p37">
              <a:extLst>
                <a:ext uri="{FF2B5EF4-FFF2-40B4-BE49-F238E27FC236}">
                  <a16:creationId xmlns:a16="http://schemas.microsoft.com/office/drawing/2014/main" id="{CA1443B6-8FEC-4538-9453-50578DA7D3FF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259;p37">
              <a:extLst>
                <a:ext uri="{FF2B5EF4-FFF2-40B4-BE49-F238E27FC236}">
                  <a16:creationId xmlns:a16="http://schemas.microsoft.com/office/drawing/2014/main" id="{B424386E-38BA-47D3-B449-F0B4AE60C1F9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260;p37">
              <a:extLst>
                <a:ext uri="{FF2B5EF4-FFF2-40B4-BE49-F238E27FC236}">
                  <a16:creationId xmlns:a16="http://schemas.microsoft.com/office/drawing/2014/main" id="{588F63C9-0907-40E5-BC94-EC3577A69CA5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261;p37">
              <a:extLst>
                <a:ext uri="{FF2B5EF4-FFF2-40B4-BE49-F238E27FC236}">
                  <a16:creationId xmlns:a16="http://schemas.microsoft.com/office/drawing/2014/main" id="{CF91D418-E405-4D2C-B422-EDE90BD1D0A1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2" name="Google Shape;2262;p37">
              <a:extLst>
                <a:ext uri="{FF2B5EF4-FFF2-40B4-BE49-F238E27FC236}">
                  <a16:creationId xmlns:a16="http://schemas.microsoft.com/office/drawing/2014/main" id="{2453CE5A-415A-4FA8-87A9-9302E2C0CD35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263;p37">
              <a:extLst>
                <a:ext uri="{FF2B5EF4-FFF2-40B4-BE49-F238E27FC236}">
                  <a16:creationId xmlns:a16="http://schemas.microsoft.com/office/drawing/2014/main" id="{9293621D-625E-4ECF-B219-049385CEE250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264;p37">
              <a:extLst>
                <a:ext uri="{FF2B5EF4-FFF2-40B4-BE49-F238E27FC236}">
                  <a16:creationId xmlns:a16="http://schemas.microsoft.com/office/drawing/2014/main" id="{24FD63DD-FABE-418B-ACE7-6F7DC655298A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265;p37">
              <a:extLst>
                <a:ext uri="{FF2B5EF4-FFF2-40B4-BE49-F238E27FC236}">
                  <a16:creationId xmlns:a16="http://schemas.microsoft.com/office/drawing/2014/main" id="{303A668E-47E8-46E2-9702-FC7AB42B91C7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266;p37">
              <a:extLst>
                <a:ext uri="{FF2B5EF4-FFF2-40B4-BE49-F238E27FC236}">
                  <a16:creationId xmlns:a16="http://schemas.microsoft.com/office/drawing/2014/main" id="{5DBAB428-362E-4732-BC00-A5FAB8363979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267;p37">
              <a:extLst>
                <a:ext uri="{FF2B5EF4-FFF2-40B4-BE49-F238E27FC236}">
                  <a16:creationId xmlns:a16="http://schemas.microsoft.com/office/drawing/2014/main" id="{4D6CB6F3-373D-49AC-A3AF-1F971E6FAED4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268;p37">
              <a:extLst>
                <a:ext uri="{FF2B5EF4-FFF2-40B4-BE49-F238E27FC236}">
                  <a16:creationId xmlns:a16="http://schemas.microsoft.com/office/drawing/2014/main" id="{070666BB-48D5-444E-BADA-98964B2427A6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269;p37">
              <a:extLst>
                <a:ext uri="{FF2B5EF4-FFF2-40B4-BE49-F238E27FC236}">
                  <a16:creationId xmlns:a16="http://schemas.microsoft.com/office/drawing/2014/main" id="{8905EA61-3C89-407D-878E-FAFB94EFF454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70;p37">
              <a:extLst>
                <a:ext uri="{FF2B5EF4-FFF2-40B4-BE49-F238E27FC236}">
                  <a16:creationId xmlns:a16="http://schemas.microsoft.com/office/drawing/2014/main" id="{50A26BAD-D899-4FBA-AF21-A3CEB3F996F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71;p37">
              <a:extLst>
                <a:ext uri="{FF2B5EF4-FFF2-40B4-BE49-F238E27FC236}">
                  <a16:creationId xmlns:a16="http://schemas.microsoft.com/office/drawing/2014/main" id="{2C9A6D2B-9E08-44D2-8425-96E80DF2C817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72;p37">
              <a:extLst>
                <a:ext uri="{FF2B5EF4-FFF2-40B4-BE49-F238E27FC236}">
                  <a16:creationId xmlns:a16="http://schemas.microsoft.com/office/drawing/2014/main" id="{4280FC99-B472-4F00-9498-F939D5C04F5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73;p37">
              <a:extLst>
                <a:ext uri="{FF2B5EF4-FFF2-40B4-BE49-F238E27FC236}">
                  <a16:creationId xmlns:a16="http://schemas.microsoft.com/office/drawing/2014/main" id="{F629EC03-0977-467B-8A13-3284DFC394AA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74;p37">
              <a:extLst>
                <a:ext uri="{FF2B5EF4-FFF2-40B4-BE49-F238E27FC236}">
                  <a16:creationId xmlns:a16="http://schemas.microsoft.com/office/drawing/2014/main" id="{548710E1-66C1-4197-8298-5920AF2C8B6E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75;p37">
              <a:extLst>
                <a:ext uri="{FF2B5EF4-FFF2-40B4-BE49-F238E27FC236}">
                  <a16:creationId xmlns:a16="http://schemas.microsoft.com/office/drawing/2014/main" id="{05628C95-1097-4940-AC23-FEE2BEF94CD7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76;p37">
              <a:extLst>
                <a:ext uri="{FF2B5EF4-FFF2-40B4-BE49-F238E27FC236}">
                  <a16:creationId xmlns:a16="http://schemas.microsoft.com/office/drawing/2014/main" id="{51C68658-928F-42BC-97ED-531EFA5E6109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7;p37">
              <a:extLst>
                <a:ext uri="{FF2B5EF4-FFF2-40B4-BE49-F238E27FC236}">
                  <a16:creationId xmlns:a16="http://schemas.microsoft.com/office/drawing/2014/main" id="{5B74E4ED-E8A6-41E1-A4F0-ED7EB3ECC2F6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78;p37">
              <a:extLst>
                <a:ext uri="{FF2B5EF4-FFF2-40B4-BE49-F238E27FC236}">
                  <a16:creationId xmlns:a16="http://schemas.microsoft.com/office/drawing/2014/main" id="{B4756959-7FBC-4192-BC96-0CF7A35EE0F9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79;p37">
              <a:extLst>
                <a:ext uri="{FF2B5EF4-FFF2-40B4-BE49-F238E27FC236}">
                  <a16:creationId xmlns:a16="http://schemas.microsoft.com/office/drawing/2014/main" id="{00F4619C-D80B-4ACD-A14A-D87AD62C1382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280;p37">
              <a:extLst>
                <a:ext uri="{FF2B5EF4-FFF2-40B4-BE49-F238E27FC236}">
                  <a16:creationId xmlns:a16="http://schemas.microsoft.com/office/drawing/2014/main" id="{A44FF415-73C7-4EFE-9AE7-DF80E515C965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281;p37">
              <a:extLst>
                <a:ext uri="{FF2B5EF4-FFF2-40B4-BE49-F238E27FC236}">
                  <a16:creationId xmlns:a16="http://schemas.microsoft.com/office/drawing/2014/main" id="{E8E5FE8B-E190-4D3D-8BCA-3340C9CB625C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282;p37">
              <a:extLst>
                <a:ext uri="{FF2B5EF4-FFF2-40B4-BE49-F238E27FC236}">
                  <a16:creationId xmlns:a16="http://schemas.microsoft.com/office/drawing/2014/main" id="{C1E1BBBF-9CDF-4FC4-81B4-735949BCBCF3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283;p37">
              <a:extLst>
                <a:ext uri="{FF2B5EF4-FFF2-40B4-BE49-F238E27FC236}">
                  <a16:creationId xmlns:a16="http://schemas.microsoft.com/office/drawing/2014/main" id="{FEC1E290-DEFC-4AFE-8587-CEF364AFC7AB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284;p37">
              <a:extLst>
                <a:ext uri="{FF2B5EF4-FFF2-40B4-BE49-F238E27FC236}">
                  <a16:creationId xmlns:a16="http://schemas.microsoft.com/office/drawing/2014/main" id="{C4F6B86C-6E9F-458C-957C-F04D18E04F3B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285;p37">
              <a:extLst>
                <a:ext uri="{FF2B5EF4-FFF2-40B4-BE49-F238E27FC236}">
                  <a16:creationId xmlns:a16="http://schemas.microsoft.com/office/drawing/2014/main" id="{76C46C8C-5720-47CA-99EC-DFD5CA434CEB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286;p37">
              <a:extLst>
                <a:ext uri="{FF2B5EF4-FFF2-40B4-BE49-F238E27FC236}">
                  <a16:creationId xmlns:a16="http://schemas.microsoft.com/office/drawing/2014/main" id="{31CCE54F-6993-4983-B132-B067C1427A09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287;p37">
              <a:extLst>
                <a:ext uri="{FF2B5EF4-FFF2-40B4-BE49-F238E27FC236}">
                  <a16:creationId xmlns:a16="http://schemas.microsoft.com/office/drawing/2014/main" id="{3B07F874-8F64-418B-9267-8CFBE4BAE58C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288;p37">
              <a:extLst>
                <a:ext uri="{FF2B5EF4-FFF2-40B4-BE49-F238E27FC236}">
                  <a16:creationId xmlns:a16="http://schemas.microsoft.com/office/drawing/2014/main" id="{4B43EA7D-AA15-422E-872F-A331CCD23A88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289;p37">
              <a:extLst>
                <a:ext uri="{FF2B5EF4-FFF2-40B4-BE49-F238E27FC236}">
                  <a16:creationId xmlns:a16="http://schemas.microsoft.com/office/drawing/2014/main" id="{A8E8DE7F-F613-4FE7-9C88-48517D9BA93D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290;p37">
              <a:extLst>
                <a:ext uri="{FF2B5EF4-FFF2-40B4-BE49-F238E27FC236}">
                  <a16:creationId xmlns:a16="http://schemas.microsoft.com/office/drawing/2014/main" id="{4671CF25-7269-4C4F-B8C1-CF042FF5BB2C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291;p37">
              <a:extLst>
                <a:ext uri="{FF2B5EF4-FFF2-40B4-BE49-F238E27FC236}">
                  <a16:creationId xmlns:a16="http://schemas.microsoft.com/office/drawing/2014/main" id="{F1F7F509-5177-446A-BB38-2389B6E17E4D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292;p37">
              <a:extLst>
                <a:ext uri="{FF2B5EF4-FFF2-40B4-BE49-F238E27FC236}">
                  <a16:creationId xmlns:a16="http://schemas.microsoft.com/office/drawing/2014/main" id="{B1924B38-E7FD-4096-BD30-AD9AA41392A0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293;p37">
              <a:extLst>
                <a:ext uri="{FF2B5EF4-FFF2-40B4-BE49-F238E27FC236}">
                  <a16:creationId xmlns:a16="http://schemas.microsoft.com/office/drawing/2014/main" id="{2C6713F0-0634-40D7-84E9-C763F056C309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294;p37">
              <a:extLst>
                <a:ext uri="{FF2B5EF4-FFF2-40B4-BE49-F238E27FC236}">
                  <a16:creationId xmlns:a16="http://schemas.microsoft.com/office/drawing/2014/main" id="{48ACFB4E-E05B-4631-B48E-2A9A7547B540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295;p37">
              <a:extLst>
                <a:ext uri="{FF2B5EF4-FFF2-40B4-BE49-F238E27FC236}">
                  <a16:creationId xmlns:a16="http://schemas.microsoft.com/office/drawing/2014/main" id="{0E66B0A8-0284-4D1B-9DE4-8592C8CEC53C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296;p37">
              <a:extLst>
                <a:ext uri="{FF2B5EF4-FFF2-40B4-BE49-F238E27FC236}">
                  <a16:creationId xmlns:a16="http://schemas.microsoft.com/office/drawing/2014/main" id="{7D6A70BF-7E47-43BC-88C3-DBF00CA38395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297;p37">
              <a:extLst>
                <a:ext uri="{FF2B5EF4-FFF2-40B4-BE49-F238E27FC236}">
                  <a16:creationId xmlns:a16="http://schemas.microsoft.com/office/drawing/2014/main" id="{92DBE9C2-A51B-4B80-81F8-0DFEEE2970C0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298;p37">
              <a:extLst>
                <a:ext uri="{FF2B5EF4-FFF2-40B4-BE49-F238E27FC236}">
                  <a16:creationId xmlns:a16="http://schemas.microsoft.com/office/drawing/2014/main" id="{BA633E49-E305-4AE0-B639-21148DF6EA81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299;p37">
              <a:extLst>
                <a:ext uri="{FF2B5EF4-FFF2-40B4-BE49-F238E27FC236}">
                  <a16:creationId xmlns:a16="http://schemas.microsoft.com/office/drawing/2014/main" id="{E4B0C544-AA12-40FA-817E-955218A0A1F9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300;p37">
              <a:extLst>
                <a:ext uri="{FF2B5EF4-FFF2-40B4-BE49-F238E27FC236}">
                  <a16:creationId xmlns:a16="http://schemas.microsoft.com/office/drawing/2014/main" id="{D2F23EAF-6FFE-4891-B2BE-24F6F4B6E0B9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301;p37">
              <a:extLst>
                <a:ext uri="{FF2B5EF4-FFF2-40B4-BE49-F238E27FC236}">
                  <a16:creationId xmlns:a16="http://schemas.microsoft.com/office/drawing/2014/main" id="{953CDF42-F308-4FB5-9F9E-D9A1EFB0D5C0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302;p37">
              <a:extLst>
                <a:ext uri="{FF2B5EF4-FFF2-40B4-BE49-F238E27FC236}">
                  <a16:creationId xmlns:a16="http://schemas.microsoft.com/office/drawing/2014/main" id="{DBBD06E6-D9B7-4241-A043-F4E7544A67DC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303;p37">
              <a:extLst>
                <a:ext uri="{FF2B5EF4-FFF2-40B4-BE49-F238E27FC236}">
                  <a16:creationId xmlns:a16="http://schemas.microsoft.com/office/drawing/2014/main" id="{684CA3D8-6888-41A3-8A83-91EE1913186B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304;p37">
              <a:extLst>
                <a:ext uri="{FF2B5EF4-FFF2-40B4-BE49-F238E27FC236}">
                  <a16:creationId xmlns:a16="http://schemas.microsoft.com/office/drawing/2014/main" id="{7FD7A487-0098-49DE-A651-33E73C2C0368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305;p37">
              <a:extLst>
                <a:ext uri="{FF2B5EF4-FFF2-40B4-BE49-F238E27FC236}">
                  <a16:creationId xmlns:a16="http://schemas.microsoft.com/office/drawing/2014/main" id="{9B7D2DCD-7A0E-4508-B098-69CF5C4FDCD3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306;p37">
              <a:extLst>
                <a:ext uri="{FF2B5EF4-FFF2-40B4-BE49-F238E27FC236}">
                  <a16:creationId xmlns:a16="http://schemas.microsoft.com/office/drawing/2014/main" id="{79454365-3087-4978-9D4E-A4D2DF738E0A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307;p37">
              <a:extLst>
                <a:ext uri="{FF2B5EF4-FFF2-40B4-BE49-F238E27FC236}">
                  <a16:creationId xmlns:a16="http://schemas.microsoft.com/office/drawing/2014/main" id="{5EBA130F-0E3B-412E-99C3-E9827344B905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308;p37">
              <a:extLst>
                <a:ext uri="{FF2B5EF4-FFF2-40B4-BE49-F238E27FC236}">
                  <a16:creationId xmlns:a16="http://schemas.microsoft.com/office/drawing/2014/main" id="{3DE5E513-6600-44AC-A7B2-B322CE60CA5C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309;p37">
              <a:extLst>
                <a:ext uri="{FF2B5EF4-FFF2-40B4-BE49-F238E27FC236}">
                  <a16:creationId xmlns:a16="http://schemas.microsoft.com/office/drawing/2014/main" id="{94C843C8-92C6-4855-ABBC-8B554615FD61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310;p37">
              <a:extLst>
                <a:ext uri="{FF2B5EF4-FFF2-40B4-BE49-F238E27FC236}">
                  <a16:creationId xmlns:a16="http://schemas.microsoft.com/office/drawing/2014/main" id="{D6A23002-E419-496E-91C0-A73BCAB91735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311;p37">
              <a:extLst>
                <a:ext uri="{FF2B5EF4-FFF2-40B4-BE49-F238E27FC236}">
                  <a16:creationId xmlns:a16="http://schemas.microsoft.com/office/drawing/2014/main" id="{6A8738E1-403D-4B35-B454-3B32F9AFC48F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312;p37">
              <a:extLst>
                <a:ext uri="{FF2B5EF4-FFF2-40B4-BE49-F238E27FC236}">
                  <a16:creationId xmlns:a16="http://schemas.microsoft.com/office/drawing/2014/main" id="{7DF2DDD1-A834-4C0C-8ECF-85035012CB76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313;p37">
              <a:extLst>
                <a:ext uri="{FF2B5EF4-FFF2-40B4-BE49-F238E27FC236}">
                  <a16:creationId xmlns:a16="http://schemas.microsoft.com/office/drawing/2014/main" id="{71CDE15B-9F6D-44E3-81E7-834C0569C1AE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314;p37">
              <a:extLst>
                <a:ext uri="{FF2B5EF4-FFF2-40B4-BE49-F238E27FC236}">
                  <a16:creationId xmlns:a16="http://schemas.microsoft.com/office/drawing/2014/main" id="{2D75B5E5-E1C7-47E0-AEB0-83D34B277E35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315;p37">
              <a:extLst>
                <a:ext uri="{FF2B5EF4-FFF2-40B4-BE49-F238E27FC236}">
                  <a16:creationId xmlns:a16="http://schemas.microsoft.com/office/drawing/2014/main" id="{3D36EABF-56A2-4309-9180-8115A3E79894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316;p37">
              <a:extLst>
                <a:ext uri="{FF2B5EF4-FFF2-40B4-BE49-F238E27FC236}">
                  <a16:creationId xmlns:a16="http://schemas.microsoft.com/office/drawing/2014/main" id="{64B4520B-EE65-46D7-8A4E-9E30F27CBD66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17;p37">
              <a:extLst>
                <a:ext uri="{FF2B5EF4-FFF2-40B4-BE49-F238E27FC236}">
                  <a16:creationId xmlns:a16="http://schemas.microsoft.com/office/drawing/2014/main" id="{8C0C3064-7306-41C2-9ADE-C3B87D5EC694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18;p37">
              <a:extLst>
                <a:ext uri="{FF2B5EF4-FFF2-40B4-BE49-F238E27FC236}">
                  <a16:creationId xmlns:a16="http://schemas.microsoft.com/office/drawing/2014/main" id="{7F499E69-CE28-45FB-84BC-DE8F86D825B6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19;p37">
              <a:extLst>
                <a:ext uri="{FF2B5EF4-FFF2-40B4-BE49-F238E27FC236}">
                  <a16:creationId xmlns:a16="http://schemas.microsoft.com/office/drawing/2014/main" id="{EE064026-A00D-475B-9FF5-E0D76B436EAB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0;p37">
              <a:extLst>
                <a:ext uri="{FF2B5EF4-FFF2-40B4-BE49-F238E27FC236}">
                  <a16:creationId xmlns:a16="http://schemas.microsoft.com/office/drawing/2014/main" id="{A046FB0E-6C3A-4AE0-957C-3421DA084D09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1;p37">
              <a:extLst>
                <a:ext uri="{FF2B5EF4-FFF2-40B4-BE49-F238E27FC236}">
                  <a16:creationId xmlns:a16="http://schemas.microsoft.com/office/drawing/2014/main" id="{3BC4CF29-1992-4279-B2BE-FB0433425DFA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positorie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429971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737748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 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4622"/>
            <a:ext cx="4857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Web Scrape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</a:t>
            </a:r>
            <a:r>
              <a:rPr lang="en-CA" dirty="0" err="1">
                <a:sym typeface="Wingdings" panose="05000000000000000000" pitchFamily="2" charset="2"/>
              </a:rPr>
              <a:t>ElephantSQL</a:t>
            </a:r>
            <a:r>
              <a:rPr lang="en-CA" dirty="0">
                <a:sym typeface="Wingdings" panose="05000000000000000000" pitchFamily="2" charset="2"/>
              </a:rPr>
              <a:t> </a:t>
            </a:r>
          </a:p>
          <a:p>
            <a:r>
              <a:rPr lang="en-CA" dirty="0">
                <a:sym typeface="Wingdings" panose="05000000000000000000" pitchFamily="2" charset="2"/>
              </a:rPr>
              <a:t>      </a:t>
            </a: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3937416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69775" y="1451613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171450" indent="-171450"/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469775" y="32891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171450" indent="-171450"/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3277650" y="145257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171450" indent="-171450"/>
            <a:r>
              <a:rPr lang="en-CA" sz="1200" dirty="0"/>
              <a:t>Add more features to improve users experience</a:t>
            </a:r>
          </a:p>
          <a:p>
            <a:pPr marL="171450" indent="-171450"/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6085525" y="1446879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171450" indent="-171450"/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77650" y="3279196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085525" y="328441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672" name="Google Shape;2749;p37">
            <a:extLst>
              <a:ext uri="{FF2B5EF4-FFF2-40B4-BE49-F238E27FC236}">
                <a16:creationId xmlns:a16="http://schemas.microsoft.com/office/drawing/2014/main" id="{6939F345-3B31-4603-A3C7-CD732804A701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673" name="Google Shape;2750;p37">
              <a:extLst>
                <a:ext uri="{FF2B5EF4-FFF2-40B4-BE49-F238E27FC236}">
                  <a16:creationId xmlns:a16="http://schemas.microsoft.com/office/drawing/2014/main" id="{3926E810-D4F3-4145-B248-EB0AFB0EFAEE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4" name="Google Shape;2751;p37">
              <a:extLst>
                <a:ext uri="{FF2B5EF4-FFF2-40B4-BE49-F238E27FC236}">
                  <a16:creationId xmlns:a16="http://schemas.microsoft.com/office/drawing/2014/main" id="{7A6F6E0F-46B6-4E45-BB63-7E4BCF2894A2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5" name="Google Shape;2752;p37">
              <a:extLst>
                <a:ext uri="{FF2B5EF4-FFF2-40B4-BE49-F238E27FC236}">
                  <a16:creationId xmlns:a16="http://schemas.microsoft.com/office/drawing/2014/main" id="{E19D8322-0136-43CF-94A6-6EF69896423D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2753;p37">
              <a:extLst>
                <a:ext uri="{FF2B5EF4-FFF2-40B4-BE49-F238E27FC236}">
                  <a16:creationId xmlns:a16="http://schemas.microsoft.com/office/drawing/2014/main" id="{9C79DFEC-3DA3-485E-913C-A3C882EEBD27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7" name="Google Shape;2754;p37">
              <a:extLst>
                <a:ext uri="{FF2B5EF4-FFF2-40B4-BE49-F238E27FC236}">
                  <a16:creationId xmlns:a16="http://schemas.microsoft.com/office/drawing/2014/main" id="{9DC188DE-BC41-43B1-A9BF-C9D66BD7623B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8" name="Google Shape;2755;p37">
              <a:extLst>
                <a:ext uri="{FF2B5EF4-FFF2-40B4-BE49-F238E27FC236}">
                  <a16:creationId xmlns:a16="http://schemas.microsoft.com/office/drawing/2014/main" id="{50AB5BA7-B225-4E38-9209-9FE520308C64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" name="Google Shape;2756;p37">
              <a:extLst>
                <a:ext uri="{FF2B5EF4-FFF2-40B4-BE49-F238E27FC236}">
                  <a16:creationId xmlns:a16="http://schemas.microsoft.com/office/drawing/2014/main" id="{7EF1BED4-9D7D-42AB-8A5B-91D1959FFFC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0" name="Google Shape;2757;p37">
              <a:extLst>
                <a:ext uri="{FF2B5EF4-FFF2-40B4-BE49-F238E27FC236}">
                  <a16:creationId xmlns:a16="http://schemas.microsoft.com/office/drawing/2014/main" id="{E059486A-4B5E-4090-B1F9-0182030510FD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" name="Google Shape;2758;p37">
              <a:extLst>
                <a:ext uri="{FF2B5EF4-FFF2-40B4-BE49-F238E27FC236}">
                  <a16:creationId xmlns:a16="http://schemas.microsoft.com/office/drawing/2014/main" id="{B5EC4F0E-86BC-4541-8780-D5A8275C609D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2759;p37">
              <a:extLst>
                <a:ext uri="{FF2B5EF4-FFF2-40B4-BE49-F238E27FC236}">
                  <a16:creationId xmlns:a16="http://schemas.microsoft.com/office/drawing/2014/main" id="{D653763F-00B5-4E52-AE43-A862B9A1B9DB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3" name="Google Shape;2760;p37">
              <a:extLst>
                <a:ext uri="{FF2B5EF4-FFF2-40B4-BE49-F238E27FC236}">
                  <a16:creationId xmlns:a16="http://schemas.microsoft.com/office/drawing/2014/main" id="{8273BF45-900C-49D2-B31F-AA66E8D3920D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Google Shape;2761;p37">
              <a:extLst>
                <a:ext uri="{FF2B5EF4-FFF2-40B4-BE49-F238E27FC236}">
                  <a16:creationId xmlns:a16="http://schemas.microsoft.com/office/drawing/2014/main" id="{478D45B0-2E45-4785-A9C1-4144E4C459ED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5" name="Google Shape;2762;p37">
              <a:extLst>
                <a:ext uri="{FF2B5EF4-FFF2-40B4-BE49-F238E27FC236}">
                  <a16:creationId xmlns:a16="http://schemas.microsoft.com/office/drawing/2014/main" id="{EEE6755B-B2DC-48E2-A318-3A5AC7C1CAA5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Google Shape;2763;p37">
              <a:extLst>
                <a:ext uri="{FF2B5EF4-FFF2-40B4-BE49-F238E27FC236}">
                  <a16:creationId xmlns:a16="http://schemas.microsoft.com/office/drawing/2014/main" id="{2CC3A3F9-6BCC-44EA-9E99-CBE1ACA69DE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7" name="Google Shape;2764;p37">
              <a:extLst>
                <a:ext uri="{FF2B5EF4-FFF2-40B4-BE49-F238E27FC236}">
                  <a16:creationId xmlns:a16="http://schemas.microsoft.com/office/drawing/2014/main" id="{F95D7D8E-DC95-47F8-ABC5-0D4EE4F291DD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8" name="Google Shape;2765;p37">
              <a:extLst>
                <a:ext uri="{FF2B5EF4-FFF2-40B4-BE49-F238E27FC236}">
                  <a16:creationId xmlns:a16="http://schemas.microsoft.com/office/drawing/2014/main" id="{78150163-2C1B-4FC3-9C33-61BC46C2AC21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" name="Google Shape;2766;p37">
              <a:extLst>
                <a:ext uri="{FF2B5EF4-FFF2-40B4-BE49-F238E27FC236}">
                  <a16:creationId xmlns:a16="http://schemas.microsoft.com/office/drawing/2014/main" id="{00E81EE3-448A-424B-B199-90DEA7B2F662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0" name="Google Shape;2767;p37">
              <a:extLst>
                <a:ext uri="{FF2B5EF4-FFF2-40B4-BE49-F238E27FC236}">
                  <a16:creationId xmlns:a16="http://schemas.microsoft.com/office/drawing/2014/main" id="{41643C51-6B1C-450A-9706-8881E9E5D12A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Google Shape;2768;p37">
              <a:extLst>
                <a:ext uri="{FF2B5EF4-FFF2-40B4-BE49-F238E27FC236}">
                  <a16:creationId xmlns:a16="http://schemas.microsoft.com/office/drawing/2014/main" id="{2A4552AB-AB86-4863-A9E7-75438D96DDBA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Google Shape;2769;p37">
              <a:extLst>
                <a:ext uri="{FF2B5EF4-FFF2-40B4-BE49-F238E27FC236}">
                  <a16:creationId xmlns:a16="http://schemas.microsoft.com/office/drawing/2014/main" id="{0B48DBDD-85BE-4C37-B05F-BF9F59E28BC8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3" name="Google Shape;2770;p37">
              <a:extLst>
                <a:ext uri="{FF2B5EF4-FFF2-40B4-BE49-F238E27FC236}">
                  <a16:creationId xmlns:a16="http://schemas.microsoft.com/office/drawing/2014/main" id="{C40614DE-6475-46FA-877A-2640FCEAADAD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Google Shape;2771;p37">
              <a:extLst>
                <a:ext uri="{FF2B5EF4-FFF2-40B4-BE49-F238E27FC236}">
                  <a16:creationId xmlns:a16="http://schemas.microsoft.com/office/drawing/2014/main" id="{70331ED2-EE35-4DE3-BDD6-E8C51703E0AE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5" name="Google Shape;2772;p37">
              <a:extLst>
                <a:ext uri="{FF2B5EF4-FFF2-40B4-BE49-F238E27FC236}">
                  <a16:creationId xmlns:a16="http://schemas.microsoft.com/office/drawing/2014/main" id="{169C385E-B70E-498F-AE55-EC62A5064894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6" name="Google Shape;2773;p37">
              <a:extLst>
                <a:ext uri="{FF2B5EF4-FFF2-40B4-BE49-F238E27FC236}">
                  <a16:creationId xmlns:a16="http://schemas.microsoft.com/office/drawing/2014/main" id="{ABF2D631-423B-425E-B2E4-F0B21F2EA33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7" name="Google Shape;2774;p37">
              <a:extLst>
                <a:ext uri="{FF2B5EF4-FFF2-40B4-BE49-F238E27FC236}">
                  <a16:creationId xmlns:a16="http://schemas.microsoft.com/office/drawing/2014/main" id="{7468C3C4-A338-438B-B190-7D01EC3CB034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" name="Google Shape;2775;p37">
              <a:extLst>
                <a:ext uri="{FF2B5EF4-FFF2-40B4-BE49-F238E27FC236}">
                  <a16:creationId xmlns:a16="http://schemas.microsoft.com/office/drawing/2014/main" id="{703F3685-5D77-45FA-BBCF-F199F08CBE66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2776;p37">
              <a:extLst>
                <a:ext uri="{FF2B5EF4-FFF2-40B4-BE49-F238E27FC236}">
                  <a16:creationId xmlns:a16="http://schemas.microsoft.com/office/drawing/2014/main" id="{7909A53D-5E3C-4932-B500-94CB190FFA54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0" name="Google Shape;2777;p37">
              <a:extLst>
                <a:ext uri="{FF2B5EF4-FFF2-40B4-BE49-F238E27FC236}">
                  <a16:creationId xmlns:a16="http://schemas.microsoft.com/office/drawing/2014/main" id="{803B7F15-BEEE-44B1-903C-FF2347EE644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1" name="Google Shape;2778;p37">
              <a:extLst>
                <a:ext uri="{FF2B5EF4-FFF2-40B4-BE49-F238E27FC236}">
                  <a16:creationId xmlns:a16="http://schemas.microsoft.com/office/drawing/2014/main" id="{D66A5E7F-D4B3-4D2A-98FE-7C88378675DF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2" name="Google Shape;2779;p37">
              <a:extLst>
                <a:ext uri="{FF2B5EF4-FFF2-40B4-BE49-F238E27FC236}">
                  <a16:creationId xmlns:a16="http://schemas.microsoft.com/office/drawing/2014/main" id="{C41FE514-8D9E-4CA8-9730-D1FAEF171378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3" name="Google Shape;2780;p37">
              <a:extLst>
                <a:ext uri="{FF2B5EF4-FFF2-40B4-BE49-F238E27FC236}">
                  <a16:creationId xmlns:a16="http://schemas.microsoft.com/office/drawing/2014/main" id="{CE5EFD11-EE18-4738-A82B-1C9B75841152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2781;p37">
              <a:extLst>
                <a:ext uri="{FF2B5EF4-FFF2-40B4-BE49-F238E27FC236}">
                  <a16:creationId xmlns:a16="http://schemas.microsoft.com/office/drawing/2014/main" id="{7696250B-8355-4F85-A4D2-0DFE02A2BD2F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2782;p37">
              <a:extLst>
                <a:ext uri="{FF2B5EF4-FFF2-40B4-BE49-F238E27FC236}">
                  <a16:creationId xmlns:a16="http://schemas.microsoft.com/office/drawing/2014/main" id="{02F74362-EFB7-4296-88D4-C41BC21C33DB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6" name="Google Shape;2783;p37">
              <a:extLst>
                <a:ext uri="{FF2B5EF4-FFF2-40B4-BE49-F238E27FC236}">
                  <a16:creationId xmlns:a16="http://schemas.microsoft.com/office/drawing/2014/main" id="{6BE57222-CBE2-4D3B-9461-FBE9347C8A72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7" name="Google Shape;2784;p37">
              <a:extLst>
                <a:ext uri="{FF2B5EF4-FFF2-40B4-BE49-F238E27FC236}">
                  <a16:creationId xmlns:a16="http://schemas.microsoft.com/office/drawing/2014/main" id="{FD6BE3C4-D0C4-41DD-8CF3-BC112B22CF8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" name="Google Shape;2785;p37">
              <a:extLst>
                <a:ext uri="{FF2B5EF4-FFF2-40B4-BE49-F238E27FC236}">
                  <a16:creationId xmlns:a16="http://schemas.microsoft.com/office/drawing/2014/main" id="{87530665-041F-4B12-95BE-4EBFA96B01DC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9" name="Google Shape;2786;p37">
              <a:extLst>
                <a:ext uri="{FF2B5EF4-FFF2-40B4-BE49-F238E27FC236}">
                  <a16:creationId xmlns:a16="http://schemas.microsoft.com/office/drawing/2014/main" id="{7A8B624D-95FC-4167-AD4D-75EB4C78EC61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2787;p37">
              <a:extLst>
                <a:ext uri="{FF2B5EF4-FFF2-40B4-BE49-F238E27FC236}">
                  <a16:creationId xmlns:a16="http://schemas.microsoft.com/office/drawing/2014/main" id="{B906AB69-9824-468A-AB72-D0C6EEC2F7AA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" name="Google Shape;2788;p37">
              <a:extLst>
                <a:ext uri="{FF2B5EF4-FFF2-40B4-BE49-F238E27FC236}">
                  <a16:creationId xmlns:a16="http://schemas.microsoft.com/office/drawing/2014/main" id="{4D4DFA60-446D-463C-91E3-BBA578972CD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" name="Google Shape;2789;p37">
              <a:extLst>
                <a:ext uri="{FF2B5EF4-FFF2-40B4-BE49-F238E27FC236}">
                  <a16:creationId xmlns:a16="http://schemas.microsoft.com/office/drawing/2014/main" id="{CE27C98D-ADD0-4511-85EE-454F0FD6E93F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3" name="Google Shape;2790;p37">
              <a:extLst>
                <a:ext uri="{FF2B5EF4-FFF2-40B4-BE49-F238E27FC236}">
                  <a16:creationId xmlns:a16="http://schemas.microsoft.com/office/drawing/2014/main" id="{D56A5604-8C20-4B46-AB2F-B78C1286C598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2791;p37">
              <a:extLst>
                <a:ext uri="{FF2B5EF4-FFF2-40B4-BE49-F238E27FC236}">
                  <a16:creationId xmlns:a16="http://schemas.microsoft.com/office/drawing/2014/main" id="{BB4E17D7-8824-4D92-AEE4-03EB64750B3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5" name="Google Shape;2792;p37">
              <a:extLst>
                <a:ext uri="{FF2B5EF4-FFF2-40B4-BE49-F238E27FC236}">
                  <a16:creationId xmlns:a16="http://schemas.microsoft.com/office/drawing/2014/main" id="{1E181808-615A-44B9-A0A6-402CFE2E6889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6" name="Google Shape;2793;p37">
              <a:extLst>
                <a:ext uri="{FF2B5EF4-FFF2-40B4-BE49-F238E27FC236}">
                  <a16:creationId xmlns:a16="http://schemas.microsoft.com/office/drawing/2014/main" id="{931AEE35-1423-4B3A-BF67-FAC9FF3C3BB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7" name="Google Shape;2794;p37">
              <a:extLst>
                <a:ext uri="{FF2B5EF4-FFF2-40B4-BE49-F238E27FC236}">
                  <a16:creationId xmlns:a16="http://schemas.microsoft.com/office/drawing/2014/main" id="{92ABA312-9E6C-4DCA-92EF-0641BAE64DC1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8" name="Google Shape;2795;p37">
              <a:extLst>
                <a:ext uri="{FF2B5EF4-FFF2-40B4-BE49-F238E27FC236}">
                  <a16:creationId xmlns:a16="http://schemas.microsoft.com/office/drawing/2014/main" id="{C99F9D07-8964-4A88-A249-6A57F53EFC52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" name="Google Shape;2796;p37">
              <a:extLst>
                <a:ext uri="{FF2B5EF4-FFF2-40B4-BE49-F238E27FC236}">
                  <a16:creationId xmlns:a16="http://schemas.microsoft.com/office/drawing/2014/main" id="{6E2A639E-126E-4B3F-95AE-46AB21DC4B3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" name="Google Shape;2797;p37">
              <a:extLst>
                <a:ext uri="{FF2B5EF4-FFF2-40B4-BE49-F238E27FC236}">
                  <a16:creationId xmlns:a16="http://schemas.microsoft.com/office/drawing/2014/main" id="{1B3BC21F-EB67-43F9-BBE7-0FA17782CE4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1" name="Google Shape;2798;p37">
              <a:extLst>
                <a:ext uri="{FF2B5EF4-FFF2-40B4-BE49-F238E27FC236}">
                  <a16:creationId xmlns:a16="http://schemas.microsoft.com/office/drawing/2014/main" id="{EEA20AE4-244E-462F-8240-8FE74FB7A2D6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2" name="Google Shape;2799;p37">
              <a:extLst>
                <a:ext uri="{FF2B5EF4-FFF2-40B4-BE49-F238E27FC236}">
                  <a16:creationId xmlns:a16="http://schemas.microsoft.com/office/drawing/2014/main" id="{221F8CDF-B6BB-48CB-BD15-BB3D4D7ABAE9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2800;p37">
              <a:extLst>
                <a:ext uri="{FF2B5EF4-FFF2-40B4-BE49-F238E27FC236}">
                  <a16:creationId xmlns:a16="http://schemas.microsoft.com/office/drawing/2014/main" id="{0EB2D7D0-6A1B-4753-A8E8-D86EF9E516E5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4" name="Google Shape;2801;p37">
              <a:extLst>
                <a:ext uri="{FF2B5EF4-FFF2-40B4-BE49-F238E27FC236}">
                  <a16:creationId xmlns:a16="http://schemas.microsoft.com/office/drawing/2014/main" id="{01E2C7D7-2CA2-437C-BB9D-AEB364D78031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" name="Google Shape;2802;p37">
              <a:extLst>
                <a:ext uri="{FF2B5EF4-FFF2-40B4-BE49-F238E27FC236}">
                  <a16:creationId xmlns:a16="http://schemas.microsoft.com/office/drawing/2014/main" id="{FE9D8F95-18CF-44B4-A435-DE8FD9B9F375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" name="Google Shape;2803;p37">
              <a:extLst>
                <a:ext uri="{FF2B5EF4-FFF2-40B4-BE49-F238E27FC236}">
                  <a16:creationId xmlns:a16="http://schemas.microsoft.com/office/drawing/2014/main" id="{71A90398-61F5-4BDE-BC89-3C604CCB49F8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7" name="Google Shape;2804;p37">
              <a:extLst>
                <a:ext uri="{FF2B5EF4-FFF2-40B4-BE49-F238E27FC236}">
                  <a16:creationId xmlns:a16="http://schemas.microsoft.com/office/drawing/2014/main" id="{CE16EAAD-204C-4B40-8008-18AECC0781B9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8" name="Google Shape;2805;p37">
              <a:extLst>
                <a:ext uri="{FF2B5EF4-FFF2-40B4-BE49-F238E27FC236}">
                  <a16:creationId xmlns:a16="http://schemas.microsoft.com/office/drawing/2014/main" id="{B689FD8D-C082-43AF-874C-27D340DC80E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9" name="Google Shape;2806;p37">
              <a:extLst>
                <a:ext uri="{FF2B5EF4-FFF2-40B4-BE49-F238E27FC236}">
                  <a16:creationId xmlns:a16="http://schemas.microsoft.com/office/drawing/2014/main" id="{5640096F-2D76-45F5-A2A8-17AA8312C95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0" name="Google Shape;2807;p37">
              <a:extLst>
                <a:ext uri="{FF2B5EF4-FFF2-40B4-BE49-F238E27FC236}">
                  <a16:creationId xmlns:a16="http://schemas.microsoft.com/office/drawing/2014/main" id="{D2225FE1-61DE-44AE-A81C-842CE5D1D0C5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1" name="Google Shape;2808;p37">
              <a:extLst>
                <a:ext uri="{FF2B5EF4-FFF2-40B4-BE49-F238E27FC236}">
                  <a16:creationId xmlns:a16="http://schemas.microsoft.com/office/drawing/2014/main" id="{D3AEE5BD-DFA4-49EB-AD06-A4491EB5A6D3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2809;p37">
              <a:extLst>
                <a:ext uri="{FF2B5EF4-FFF2-40B4-BE49-F238E27FC236}">
                  <a16:creationId xmlns:a16="http://schemas.microsoft.com/office/drawing/2014/main" id="{1D6B3299-ECEB-449E-BDF6-80DE30BA34C6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" name="Google Shape;2810;p37">
              <a:extLst>
                <a:ext uri="{FF2B5EF4-FFF2-40B4-BE49-F238E27FC236}">
                  <a16:creationId xmlns:a16="http://schemas.microsoft.com/office/drawing/2014/main" id="{481A143E-7BC9-406F-84D3-409CC61116E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4" name="Google Shape;2811;p37">
              <a:extLst>
                <a:ext uri="{FF2B5EF4-FFF2-40B4-BE49-F238E27FC236}">
                  <a16:creationId xmlns:a16="http://schemas.microsoft.com/office/drawing/2014/main" id="{6D70805B-9271-437D-8C7F-D78F18FE7893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5" name="Google Shape;2812;p37">
              <a:extLst>
                <a:ext uri="{FF2B5EF4-FFF2-40B4-BE49-F238E27FC236}">
                  <a16:creationId xmlns:a16="http://schemas.microsoft.com/office/drawing/2014/main" id="{44D7E0CD-213B-4703-BDE5-93FDF90C83B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" name="Google Shape;2813;p37">
              <a:extLst>
                <a:ext uri="{FF2B5EF4-FFF2-40B4-BE49-F238E27FC236}">
                  <a16:creationId xmlns:a16="http://schemas.microsoft.com/office/drawing/2014/main" id="{8564F0C5-FF4B-4306-B624-A2D1905C950C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" name="Google Shape;2814;p37">
              <a:extLst>
                <a:ext uri="{FF2B5EF4-FFF2-40B4-BE49-F238E27FC236}">
                  <a16:creationId xmlns:a16="http://schemas.microsoft.com/office/drawing/2014/main" id="{FC775F4D-98D9-442E-857F-593F3C11EA41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" name="Google Shape;2815;p37">
              <a:extLst>
                <a:ext uri="{FF2B5EF4-FFF2-40B4-BE49-F238E27FC236}">
                  <a16:creationId xmlns:a16="http://schemas.microsoft.com/office/drawing/2014/main" id="{54A00230-83E5-4047-AE30-2EBF4F916C3D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9" name="Google Shape;2816;p37">
              <a:extLst>
                <a:ext uri="{FF2B5EF4-FFF2-40B4-BE49-F238E27FC236}">
                  <a16:creationId xmlns:a16="http://schemas.microsoft.com/office/drawing/2014/main" id="{EEDC281A-7302-4BBE-BE91-22146ADD818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0" name="Google Shape;2817;p37">
              <a:extLst>
                <a:ext uri="{FF2B5EF4-FFF2-40B4-BE49-F238E27FC236}">
                  <a16:creationId xmlns:a16="http://schemas.microsoft.com/office/drawing/2014/main" id="{C3B80244-3AD8-4A9F-8CB9-73D093B86C6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1" name="Google Shape;2818;p37">
              <a:extLst>
                <a:ext uri="{FF2B5EF4-FFF2-40B4-BE49-F238E27FC236}">
                  <a16:creationId xmlns:a16="http://schemas.microsoft.com/office/drawing/2014/main" id="{419CE540-106D-4071-A054-5FEA956625B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2" name="Google Shape;2819;p37">
              <a:extLst>
                <a:ext uri="{FF2B5EF4-FFF2-40B4-BE49-F238E27FC236}">
                  <a16:creationId xmlns:a16="http://schemas.microsoft.com/office/drawing/2014/main" id="{9F53C272-94DF-44E6-B41F-8522818FE98B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3" name="Google Shape;2820;p37">
              <a:extLst>
                <a:ext uri="{FF2B5EF4-FFF2-40B4-BE49-F238E27FC236}">
                  <a16:creationId xmlns:a16="http://schemas.microsoft.com/office/drawing/2014/main" id="{24728536-0D6A-4CEC-9248-473D19B3641D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" name="Google Shape;2821;p37">
              <a:extLst>
                <a:ext uri="{FF2B5EF4-FFF2-40B4-BE49-F238E27FC236}">
                  <a16:creationId xmlns:a16="http://schemas.microsoft.com/office/drawing/2014/main" id="{F2A13D63-B0B7-4708-B31F-F429EB4820AB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2822;p37">
              <a:extLst>
                <a:ext uri="{FF2B5EF4-FFF2-40B4-BE49-F238E27FC236}">
                  <a16:creationId xmlns:a16="http://schemas.microsoft.com/office/drawing/2014/main" id="{2CAC30EE-B3B5-4DEE-B57F-E6DDC7F283B8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6" name="Google Shape;2823;p37">
              <a:extLst>
                <a:ext uri="{FF2B5EF4-FFF2-40B4-BE49-F238E27FC236}">
                  <a16:creationId xmlns:a16="http://schemas.microsoft.com/office/drawing/2014/main" id="{564E9BD1-3C30-4689-AFB1-D175AA315E1F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47" name="Google Shape;2824;p37">
              <a:extLst>
                <a:ext uri="{FF2B5EF4-FFF2-40B4-BE49-F238E27FC236}">
                  <a16:creationId xmlns:a16="http://schemas.microsoft.com/office/drawing/2014/main" id="{0EACD1B7-458B-4CE3-A032-484F17721C06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772" name="Google Shape;2825;p37">
                <a:extLst>
                  <a:ext uri="{FF2B5EF4-FFF2-40B4-BE49-F238E27FC236}">
                    <a16:creationId xmlns:a16="http://schemas.microsoft.com/office/drawing/2014/main" id="{3692EEEA-A51E-4A0E-B142-17E04646226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2826;p37">
                <a:extLst>
                  <a:ext uri="{FF2B5EF4-FFF2-40B4-BE49-F238E27FC236}">
                    <a16:creationId xmlns:a16="http://schemas.microsoft.com/office/drawing/2014/main" id="{D514CD74-FA65-4387-ADD7-DF56359E5692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2827;p37">
                <a:extLst>
                  <a:ext uri="{FF2B5EF4-FFF2-40B4-BE49-F238E27FC236}">
                    <a16:creationId xmlns:a16="http://schemas.microsoft.com/office/drawing/2014/main" id="{2DC3BB5B-2CBC-46D9-9D92-5556CF427197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5" name="Google Shape;2828;p37">
                <a:extLst>
                  <a:ext uri="{FF2B5EF4-FFF2-40B4-BE49-F238E27FC236}">
                    <a16:creationId xmlns:a16="http://schemas.microsoft.com/office/drawing/2014/main" id="{8F5920A0-3238-4EC4-AFEE-E6301AF6D5C2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6" name="Google Shape;2829;p37">
                <a:extLst>
                  <a:ext uri="{FF2B5EF4-FFF2-40B4-BE49-F238E27FC236}">
                    <a16:creationId xmlns:a16="http://schemas.microsoft.com/office/drawing/2014/main" id="{AA44EAB7-C63F-458E-8491-21BD82499830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7" name="Google Shape;2830;p37">
                <a:extLst>
                  <a:ext uri="{FF2B5EF4-FFF2-40B4-BE49-F238E27FC236}">
                    <a16:creationId xmlns:a16="http://schemas.microsoft.com/office/drawing/2014/main" id="{10BF31BC-A059-4282-9F33-442C723F2614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8" name="Google Shape;2831;p37">
                <a:extLst>
                  <a:ext uri="{FF2B5EF4-FFF2-40B4-BE49-F238E27FC236}">
                    <a16:creationId xmlns:a16="http://schemas.microsoft.com/office/drawing/2014/main" id="{AA4E35AC-8D72-4803-A1D3-EB80F2529307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9" name="Google Shape;2832;p37">
                <a:extLst>
                  <a:ext uri="{FF2B5EF4-FFF2-40B4-BE49-F238E27FC236}">
                    <a16:creationId xmlns:a16="http://schemas.microsoft.com/office/drawing/2014/main" id="{5D58BD87-4D28-497F-BA42-05A486243CBD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0" name="Google Shape;2833;p37">
                <a:extLst>
                  <a:ext uri="{FF2B5EF4-FFF2-40B4-BE49-F238E27FC236}">
                    <a16:creationId xmlns:a16="http://schemas.microsoft.com/office/drawing/2014/main" id="{96ED955C-4877-4354-BFC6-BED0AB449188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48" name="Google Shape;2834;p37">
              <a:extLst>
                <a:ext uri="{FF2B5EF4-FFF2-40B4-BE49-F238E27FC236}">
                  <a16:creationId xmlns:a16="http://schemas.microsoft.com/office/drawing/2014/main" id="{85696368-4E58-4475-8236-70525F9BBE7F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767" name="Google Shape;2835;p37">
                <a:extLst>
                  <a:ext uri="{FF2B5EF4-FFF2-40B4-BE49-F238E27FC236}">
                    <a16:creationId xmlns:a16="http://schemas.microsoft.com/office/drawing/2014/main" id="{4ACA15DA-5C4A-4730-979F-D79D9A01D0F8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8" name="Google Shape;2836;p37">
                <a:extLst>
                  <a:ext uri="{FF2B5EF4-FFF2-40B4-BE49-F238E27FC236}">
                    <a16:creationId xmlns:a16="http://schemas.microsoft.com/office/drawing/2014/main" id="{8816C9C6-28D0-4807-A775-5403E7A491A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9" name="Google Shape;2837;p37">
                <a:extLst>
                  <a:ext uri="{FF2B5EF4-FFF2-40B4-BE49-F238E27FC236}">
                    <a16:creationId xmlns:a16="http://schemas.microsoft.com/office/drawing/2014/main" id="{3C04D7B1-0CF1-40CA-83DB-CE7F43D9D06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0" name="Google Shape;2838;p37">
                <a:extLst>
                  <a:ext uri="{FF2B5EF4-FFF2-40B4-BE49-F238E27FC236}">
                    <a16:creationId xmlns:a16="http://schemas.microsoft.com/office/drawing/2014/main" id="{98650B55-71B0-4431-B9C9-AE997D5D6E3A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2839;p37">
                <a:extLst>
                  <a:ext uri="{FF2B5EF4-FFF2-40B4-BE49-F238E27FC236}">
                    <a16:creationId xmlns:a16="http://schemas.microsoft.com/office/drawing/2014/main" id="{7DCDDB8F-3EC7-4619-8FA3-4661AF03CA62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749" name="Google Shape;2840;p37">
              <a:extLst>
                <a:ext uri="{FF2B5EF4-FFF2-40B4-BE49-F238E27FC236}">
                  <a16:creationId xmlns:a16="http://schemas.microsoft.com/office/drawing/2014/main" id="{22B0A2A3-F6AD-4831-BBEA-7014D85C2163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2841;p37">
              <a:extLst>
                <a:ext uri="{FF2B5EF4-FFF2-40B4-BE49-F238E27FC236}">
                  <a16:creationId xmlns:a16="http://schemas.microsoft.com/office/drawing/2014/main" id="{96195388-C208-4045-B3D6-5A142A61EB27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2842;p37">
              <a:extLst>
                <a:ext uri="{FF2B5EF4-FFF2-40B4-BE49-F238E27FC236}">
                  <a16:creationId xmlns:a16="http://schemas.microsoft.com/office/drawing/2014/main" id="{2B001210-C444-41FE-A6DA-CC3C65BD0ABA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2" name="Google Shape;2843;p37">
              <a:extLst>
                <a:ext uri="{FF2B5EF4-FFF2-40B4-BE49-F238E27FC236}">
                  <a16:creationId xmlns:a16="http://schemas.microsoft.com/office/drawing/2014/main" id="{C5433097-305E-4E74-A21B-3123C7C77F1B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Google Shape;2844;p37">
              <a:extLst>
                <a:ext uri="{FF2B5EF4-FFF2-40B4-BE49-F238E27FC236}">
                  <a16:creationId xmlns:a16="http://schemas.microsoft.com/office/drawing/2014/main" id="{802FE508-73D2-435B-A6BF-A23CCEDE65B5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4" name="Google Shape;2845;p37">
              <a:extLst>
                <a:ext uri="{FF2B5EF4-FFF2-40B4-BE49-F238E27FC236}">
                  <a16:creationId xmlns:a16="http://schemas.microsoft.com/office/drawing/2014/main" id="{A9AE9D13-C8BA-4B4D-BDD5-655681B19D77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5" name="Google Shape;2846;p37">
              <a:extLst>
                <a:ext uri="{FF2B5EF4-FFF2-40B4-BE49-F238E27FC236}">
                  <a16:creationId xmlns:a16="http://schemas.microsoft.com/office/drawing/2014/main" id="{742D1E7A-154F-45CE-8F97-9094FD932253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6" name="Google Shape;2847;p37">
              <a:extLst>
                <a:ext uri="{FF2B5EF4-FFF2-40B4-BE49-F238E27FC236}">
                  <a16:creationId xmlns:a16="http://schemas.microsoft.com/office/drawing/2014/main" id="{94B221EB-B3B0-495C-A97B-75906F700200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2848;p37">
              <a:extLst>
                <a:ext uri="{FF2B5EF4-FFF2-40B4-BE49-F238E27FC236}">
                  <a16:creationId xmlns:a16="http://schemas.microsoft.com/office/drawing/2014/main" id="{AB793385-5BA6-407F-B6C1-A80705BD28C4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2849;p37">
              <a:extLst>
                <a:ext uri="{FF2B5EF4-FFF2-40B4-BE49-F238E27FC236}">
                  <a16:creationId xmlns:a16="http://schemas.microsoft.com/office/drawing/2014/main" id="{2CF7B169-B79E-4DD9-9C40-822B69BDF5C9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Google Shape;2850;p37">
              <a:extLst>
                <a:ext uri="{FF2B5EF4-FFF2-40B4-BE49-F238E27FC236}">
                  <a16:creationId xmlns:a16="http://schemas.microsoft.com/office/drawing/2014/main" id="{242519FE-7FA9-4141-9F32-0519B91282E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0" name="Google Shape;2851;p37">
              <a:extLst>
                <a:ext uri="{FF2B5EF4-FFF2-40B4-BE49-F238E27FC236}">
                  <a16:creationId xmlns:a16="http://schemas.microsoft.com/office/drawing/2014/main" id="{4BD3AF23-7E4B-4D07-B6C6-D508B8B4FD97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" name="Google Shape;2852;p37">
              <a:extLst>
                <a:ext uri="{FF2B5EF4-FFF2-40B4-BE49-F238E27FC236}">
                  <a16:creationId xmlns:a16="http://schemas.microsoft.com/office/drawing/2014/main" id="{B9FBDE55-C503-4ACE-A67D-5E73F13DFA31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" name="Google Shape;2853;p37">
              <a:extLst>
                <a:ext uri="{FF2B5EF4-FFF2-40B4-BE49-F238E27FC236}">
                  <a16:creationId xmlns:a16="http://schemas.microsoft.com/office/drawing/2014/main" id="{62825E47-0E39-4DDE-8267-84D7254D79C4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" name="Google Shape;2854;p37">
              <a:extLst>
                <a:ext uri="{FF2B5EF4-FFF2-40B4-BE49-F238E27FC236}">
                  <a16:creationId xmlns:a16="http://schemas.microsoft.com/office/drawing/2014/main" id="{3D33EFAF-A0A9-477D-BE1A-4B75B43AE70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4" name="Google Shape;2855;p37">
              <a:extLst>
                <a:ext uri="{FF2B5EF4-FFF2-40B4-BE49-F238E27FC236}">
                  <a16:creationId xmlns:a16="http://schemas.microsoft.com/office/drawing/2014/main" id="{0F684BCC-665D-47DD-99C6-1D04BC23DCD3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5" name="Google Shape;2856;p37">
              <a:extLst>
                <a:ext uri="{FF2B5EF4-FFF2-40B4-BE49-F238E27FC236}">
                  <a16:creationId xmlns:a16="http://schemas.microsoft.com/office/drawing/2014/main" id="{B183BEC9-77BC-473A-A045-3E2680D5460B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6" name="Google Shape;2857;p37">
              <a:extLst>
                <a:ext uri="{FF2B5EF4-FFF2-40B4-BE49-F238E27FC236}">
                  <a16:creationId xmlns:a16="http://schemas.microsoft.com/office/drawing/2014/main" id="{563D4191-D7FD-40B9-90E0-52EA32BBE70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3730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jective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98100" y="4190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51800"/>
            <a:ext cx="5869459" cy="3284950"/>
          </a:xfrm>
        </p:spPr>
        <p:txBody>
          <a:bodyPr/>
          <a:lstStyle/>
          <a:p>
            <a:r>
              <a:rPr lang="en-CA" sz="1600" dirty="0"/>
              <a:t>To understand job availability in different countries: </a:t>
            </a:r>
          </a:p>
          <a:p>
            <a:pPr lvl="1"/>
            <a:r>
              <a:rPr lang="en-CA" sz="1600" dirty="0"/>
              <a:t>Canada</a:t>
            </a:r>
          </a:p>
          <a:p>
            <a:pPr lvl="1"/>
            <a:r>
              <a:rPr lang="en-CA" sz="1600" dirty="0"/>
              <a:t>United States</a:t>
            </a:r>
          </a:p>
          <a:p>
            <a:pPr lvl="1"/>
            <a:r>
              <a:rPr lang="en-CA" sz="1600" dirty="0"/>
              <a:t>Singapore</a:t>
            </a:r>
          </a:p>
          <a:p>
            <a:pPr lvl="1"/>
            <a:r>
              <a:rPr lang="en-CA" sz="1600" dirty="0"/>
              <a:t>Australia </a:t>
            </a:r>
          </a:p>
          <a:p>
            <a:r>
              <a:rPr lang="en-CA" sz="1600" dirty="0"/>
              <a:t>To understand job availability by job types: </a:t>
            </a:r>
          </a:p>
          <a:p>
            <a:pPr lvl="1"/>
            <a:r>
              <a:rPr lang="en-CA" sz="1600" dirty="0"/>
              <a:t>Data Analyst </a:t>
            </a:r>
          </a:p>
          <a:p>
            <a:pPr lvl="1"/>
            <a:r>
              <a:rPr lang="en-CA" sz="1600" dirty="0"/>
              <a:t>Data Scientist </a:t>
            </a:r>
          </a:p>
          <a:p>
            <a:pPr lvl="1"/>
            <a:r>
              <a:rPr lang="en-CA" sz="1600" dirty="0"/>
              <a:t>Data Engineer</a:t>
            </a:r>
          </a:p>
          <a:p>
            <a:pPr lvl="1"/>
            <a:r>
              <a:rPr lang="en-CA" sz="1600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48252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38" y="1426228"/>
            <a:ext cx="4016807" cy="3355800"/>
          </a:xfrm>
        </p:spPr>
        <p:txBody>
          <a:bodyPr/>
          <a:lstStyle/>
          <a:p>
            <a:r>
              <a:rPr lang="en-CA" dirty="0">
                <a:latin typeface="Barlow Light" panose="020B0604020202020204" charset="0"/>
              </a:rPr>
              <a:t>Job posting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ypes were categorized by Indeed for simplification purpose</a:t>
            </a:r>
          </a:p>
          <a:p>
            <a:endParaRPr lang="en-CA" dirty="0"/>
          </a:p>
          <a:p>
            <a:r>
              <a:rPr lang="en-CA" dirty="0"/>
              <a:t>Capped job postings at 1000, per job type and per country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141" name="Google Shape;2060;p34">
            <a:extLst>
              <a:ext uri="{FF2B5EF4-FFF2-40B4-BE49-F238E27FC236}">
                <a16:creationId xmlns:a16="http://schemas.microsoft.com/office/drawing/2014/main" id="{8A4B3C2B-9D1F-49AD-B87D-FFCA4AB22427}"/>
              </a:ext>
            </a:extLst>
          </p:cNvPr>
          <p:cNvGrpSpPr/>
          <p:nvPr/>
        </p:nvGrpSpPr>
        <p:grpSpPr>
          <a:xfrm>
            <a:off x="5292901" y="605600"/>
            <a:ext cx="3356124" cy="3829046"/>
            <a:chOff x="2602525" y="317054"/>
            <a:chExt cx="4174283" cy="4762495"/>
          </a:xfrm>
        </p:grpSpPr>
        <p:sp>
          <p:nvSpPr>
            <p:cNvPr id="142" name="Google Shape;2061;p34">
              <a:extLst>
                <a:ext uri="{FF2B5EF4-FFF2-40B4-BE49-F238E27FC236}">
                  <a16:creationId xmlns:a16="http://schemas.microsoft.com/office/drawing/2014/main" id="{C9288285-17CD-4A25-902A-ABDAB5F6353D}"/>
                </a:ext>
              </a:extLst>
            </p:cNvPr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062;p34">
              <a:extLst>
                <a:ext uri="{FF2B5EF4-FFF2-40B4-BE49-F238E27FC236}">
                  <a16:creationId xmlns:a16="http://schemas.microsoft.com/office/drawing/2014/main" id="{DCF6DE01-82A5-4AB5-B19B-257CF99C798B}"/>
                </a:ext>
              </a:extLst>
            </p:cNvPr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063;p34">
              <a:extLst>
                <a:ext uri="{FF2B5EF4-FFF2-40B4-BE49-F238E27FC236}">
                  <a16:creationId xmlns:a16="http://schemas.microsoft.com/office/drawing/2014/main" id="{4CD34363-75B7-4B58-A839-C43D92E65255}"/>
                </a:ext>
              </a:extLst>
            </p:cNvPr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064;p34">
              <a:extLst>
                <a:ext uri="{FF2B5EF4-FFF2-40B4-BE49-F238E27FC236}">
                  <a16:creationId xmlns:a16="http://schemas.microsoft.com/office/drawing/2014/main" id="{CE553A44-4F24-4E03-891A-99B2A9671914}"/>
                </a:ext>
              </a:extLst>
            </p:cNvPr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065;p34">
              <a:extLst>
                <a:ext uri="{FF2B5EF4-FFF2-40B4-BE49-F238E27FC236}">
                  <a16:creationId xmlns:a16="http://schemas.microsoft.com/office/drawing/2014/main" id="{3D469C09-6A97-4C74-BF3A-A466330221DE}"/>
                </a:ext>
              </a:extLst>
            </p:cNvPr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066;p34">
              <a:extLst>
                <a:ext uri="{FF2B5EF4-FFF2-40B4-BE49-F238E27FC236}">
                  <a16:creationId xmlns:a16="http://schemas.microsoft.com/office/drawing/2014/main" id="{2F224A21-4D7E-4FFC-888C-1D87FF359E93}"/>
                </a:ext>
              </a:extLst>
            </p:cNvPr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067;p34">
              <a:extLst>
                <a:ext uri="{FF2B5EF4-FFF2-40B4-BE49-F238E27FC236}">
                  <a16:creationId xmlns:a16="http://schemas.microsoft.com/office/drawing/2014/main" id="{A497A1F3-847E-4AEA-963B-4EA80B4D3F7B}"/>
                </a:ext>
              </a:extLst>
            </p:cNvPr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068;p34">
              <a:extLst>
                <a:ext uri="{FF2B5EF4-FFF2-40B4-BE49-F238E27FC236}">
                  <a16:creationId xmlns:a16="http://schemas.microsoft.com/office/drawing/2014/main" id="{86574D5F-087D-4C3C-B448-C277DC502648}"/>
                </a:ext>
              </a:extLst>
            </p:cNvPr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069;p34">
              <a:extLst>
                <a:ext uri="{FF2B5EF4-FFF2-40B4-BE49-F238E27FC236}">
                  <a16:creationId xmlns:a16="http://schemas.microsoft.com/office/drawing/2014/main" id="{7AA595E1-3E4B-4BFA-B3C6-253587C8CB5F}"/>
                </a:ext>
              </a:extLst>
            </p:cNvPr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070;p34">
              <a:extLst>
                <a:ext uri="{FF2B5EF4-FFF2-40B4-BE49-F238E27FC236}">
                  <a16:creationId xmlns:a16="http://schemas.microsoft.com/office/drawing/2014/main" id="{59FF20E8-8F01-42FC-9AE5-4741B73C1BC5}"/>
                </a:ext>
              </a:extLst>
            </p:cNvPr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071;p34">
              <a:extLst>
                <a:ext uri="{FF2B5EF4-FFF2-40B4-BE49-F238E27FC236}">
                  <a16:creationId xmlns:a16="http://schemas.microsoft.com/office/drawing/2014/main" id="{3C7F78D0-7F7E-4A55-818E-F136E45F099A}"/>
                </a:ext>
              </a:extLst>
            </p:cNvPr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072;p34">
              <a:extLst>
                <a:ext uri="{FF2B5EF4-FFF2-40B4-BE49-F238E27FC236}">
                  <a16:creationId xmlns:a16="http://schemas.microsoft.com/office/drawing/2014/main" id="{8C38FE9F-8F9B-490B-854A-DA649F899D99}"/>
                </a:ext>
              </a:extLst>
            </p:cNvPr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073;p34">
              <a:extLst>
                <a:ext uri="{FF2B5EF4-FFF2-40B4-BE49-F238E27FC236}">
                  <a16:creationId xmlns:a16="http://schemas.microsoft.com/office/drawing/2014/main" id="{E0CA660D-4114-4F8B-9D62-5FD8114E5987}"/>
                </a:ext>
              </a:extLst>
            </p:cNvPr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074;p34">
              <a:extLst>
                <a:ext uri="{FF2B5EF4-FFF2-40B4-BE49-F238E27FC236}">
                  <a16:creationId xmlns:a16="http://schemas.microsoft.com/office/drawing/2014/main" id="{CAD239E4-1F4F-4F8A-AD4C-8BAA71940EB5}"/>
                </a:ext>
              </a:extLst>
            </p:cNvPr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075;p34">
              <a:extLst>
                <a:ext uri="{FF2B5EF4-FFF2-40B4-BE49-F238E27FC236}">
                  <a16:creationId xmlns:a16="http://schemas.microsoft.com/office/drawing/2014/main" id="{35035B6B-E87C-47A1-AAFC-1581DFD08F41}"/>
                </a:ext>
              </a:extLst>
            </p:cNvPr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076;p34">
              <a:extLst>
                <a:ext uri="{FF2B5EF4-FFF2-40B4-BE49-F238E27FC236}">
                  <a16:creationId xmlns:a16="http://schemas.microsoft.com/office/drawing/2014/main" id="{16AB9356-0B25-4D0A-91D5-B93869C43536}"/>
                </a:ext>
              </a:extLst>
            </p:cNvPr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077;p34">
              <a:extLst>
                <a:ext uri="{FF2B5EF4-FFF2-40B4-BE49-F238E27FC236}">
                  <a16:creationId xmlns:a16="http://schemas.microsoft.com/office/drawing/2014/main" id="{B7E5A4CA-BEB8-418F-B2D6-45DF280419DC}"/>
                </a:ext>
              </a:extLst>
            </p:cNvPr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078;p34">
              <a:extLst>
                <a:ext uri="{FF2B5EF4-FFF2-40B4-BE49-F238E27FC236}">
                  <a16:creationId xmlns:a16="http://schemas.microsoft.com/office/drawing/2014/main" id="{BC1278DC-46C2-48FC-A126-F4C3B6F67FA3}"/>
                </a:ext>
              </a:extLst>
            </p:cNvPr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079;p34">
              <a:extLst>
                <a:ext uri="{FF2B5EF4-FFF2-40B4-BE49-F238E27FC236}">
                  <a16:creationId xmlns:a16="http://schemas.microsoft.com/office/drawing/2014/main" id="{5617EAB5-7F82-4EE1-A5E1-9A744EBED10D}"/>
                </a:ext>
              </a:extLst>
            </p:cNvPr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080;p34">
              <a:extLst>
                <a:ext uri="{FF2B5EF4-FFF2-40B4-BE49-F238E27FC236}">
                  <a16:creationId xmlns:a16="http://schemas.microsoft.com/office/drawing/2014/main" id="{E522B3E9-8580-4AAF-BACB-ABC7291CEADA}"/>
                </a:ext>
              </a:extLst>
            </p:cNvPr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081;p34">
              <a:extLst>
                <a:ext uri="{FF2B5EF4-FFF2-40B4-BE49-F238E27FC236}">
                  <a16:creationId xmlns:a16="http://schemas.microsoft.com/office/drawing/2014/main" id="{193DB805-6837-4363-A79A-B7AE136E3250}"/>
                </a:ext>
              </a:extLst>
            </p:cNvPr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082;p34">
              <a:extLst>
                <a:ext uri="{FF2B5EF4-FFF2-40B4-BE49-F238E27FC236}">
                  <a16:creationId xmlns:a16="http://schemas.microsoft.com/office/drawing/2014/main" id="{466F289D-0968-4934-ACD8-1726308557CB}"/>
                </a:ext>
              </a:extLst>
            </p:cNvPr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083;p34">
              <a:extLst>
                <a:ext uri="{FF2B5EF4-FFF2-40B4-BE49-F238E27FC236}">
                  <a16:creationId xmlns:a16="http://schemas.microsoft.com/office/drawing/2014/main" id="{94419EBC-B950-4A67-B5E4-5C931FE13F92}"/>
                </a:ext>
              </a:extLst>
            </p:cNvPr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084;p34">
              <a:extLst>
                <a:ext uri="{FF2B5EF4-FFF2-40B4-BE49-F238E27FC236}">
                  <a16:creationId xmlns:a16="http://schemas.microsoft.com/office/drawing/2014/main" id="{D7A0707F-7E4D-4678-B41A-412E5ACBCFCB}"/>
                </a:ext>
              </a:extLst>
            </p:cNvPr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085;p34">
              <a:extLst>
                <a:ext uri="{FF2B5EF4-FFF2-40B4-BE49-F238E27FC236}">
                  <a16:creationId xmlns:a16="http://schemas.microsoft.com/office/drawing/2014/main" id="{619E66AF-4EAD-4A69-BAD8-A50AB140444B}"/>
                </a:ext>
              </a:extLst>
            </p:cNvPr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086;p34">
              <a:extLst>
                <a:ext uri="{FF2B5EF4-FFF2-40B4-BE49-F238E27FC236}">
                  <a16:creationId xmlns:a16="http://schemas.microsoft.com/office/drawing/2014/main" id="{D64428ED-94CA-4503-998D-FF5A62035464}"/>
                </a:ext>
              </a:extLst>
            </p:cNvPr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087;p34">
              <a:extLst>
                <a:ext uri="{FF2B5EF4-FFF2-40B4-BE49-F238E27FC236}">
                  <a16:creationId xmlns:a16="http://schemas.microsoft.com/office/drawing/2014/main" id="{8AF56BE0-9025-43B7-B8BE-78FC372F7AD1}"/>
                </a:ext>
              </a:extLst>
            </p:cNvPr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088;p34">
              <a:extLst>
                <a:ext uri="{FF2B5EF4-FFF2-40B4-BE49-F238E27FC236}">
                  <a16:creationId xmlns:a16="http://schemas.microsoft.com/office/drawing/2014/main" id="{4698C7DC-8531-4D5B-BCA1-13F8F34E1F9C}"/>
                </a:ext>
              </a:extLst>
            </p:cNvPr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089;p34">
              <a:extLst>
                <a:ext uri="{FF2B5EF4-FFF2-40B4-BE49-F238E27FC236}">
                  <a16:creationId xmlns:a16="http://schemas.microsoft.com/office/drawing/2014/main" id="{48CDDE20-133C-4D13-9C5A-3A4F16F6FBF9}"/>
                </a:ext>
              </a:extLst>
            </p:cNvPr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090;p34">
              <a:extLst>
                <a:ext uri="{FF2B5EF4-FFF2-40B4-BE49-F238E27FC236}">
                  <a16:creationId xmlns:a16="http://schemas.microsoft.com/office/drawing/2014/main" id="{0BAD9990-0949-4941-B5AC-08A0724BACD4}"/>
                </a:ext>
              </a:extLst>
            </p:cNvPr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091;p34">
              <a:extLst>
                <a:ext uri="{FF2B5EF4-FFF2-40B4-BE49-F238E27FC236}">
                  <a16:creationId xmlns:a16="http://schemas.microsoft.com/office/drawing/2014/main" id="{57CA83BE-9C6A-43F2-A9DA-5D881B6BAA1B}"/>
                </a:ext>
              </a:extLst>
            </p:cNvPr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092;p34">
              <a:extLst>
                <a:ext uri="{FF2B5EF4-FFF2-40B4-BE49-F238E27FC236}">
                  <a16:creationId xmlns:a16="http://schemas.microsoft.com/office/drawing/2014/main" id="{4781EC1E-10C5-43D8-B39C-5447B56C42F1}"/>
                </a:ext>
              </a:extLst>
            </p:cNvPr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093;p34">
              <a:extLst>
                <a:ext uri="{FF2B5EF4-FFF2-40B4-BE49-F238E27FC236}">
                  <a16:creationId xmlns:a16="http://schemas.microsoft.com/office/drawing/2014/main" id="{5E37FABB-FC4E-44B3-954E-44770989E998}"/>
                </a:ext>
              </a:extLst>
            </p:cNvPr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094;p34">
              <a:extLst>
                <a:ext uri="{FF2B5EF4-FFF2-40B4-BE49-F238E27FC236}">
                  <a16:creationId xmlns:a16="http://schemas.microsoft.com/office/drawing/2014/main" id="{8A2A53FC-4DEB-4E01-A39B-09820E993108}"/>
                </a:ext>
              </a:extLst>
            </p:cNvPr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095;p34">
              <a:extLst>
                <a:ext uri="{FF2B5EF4-FFF2-40B4-BE49-F238E27FC236}">
                  <a16:creationId xmlns:a16="http://schemas.microsoft.com/office/drawing/2014/main" id="{88A76374-2924-4073-A97A-D443BD3B41DC}"/>
                </a:ext>
              </a:extLst>
            </p:cNvPr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096;p34">
              <a:extLst>
                <a:ext uri="{FF2B5EF4-FFF2-40B4-BE49-F238E27FC236}">
                  <a16:creationId xmlns:a16="http://schemas.microsoft.com/office/drawing/2014/main" id="{F3B7442B-578A-4B82-9916-01DC8B966AF3}"/>
                </a:ext>
              </a:extLst>
            </p:cNvPr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097;p34">
              <a:extLst>
                <a:ext uri="{FF2B5EF4-FFF2-40B4-BE49-F238E27FC236}">
                  <a16:creationId xmlns:a16="http://schemas.microsoft.com/office/drawing/2014/main" id="{15D326E4-12B8-4F84-8934-CB0D26D3ED2D}"/>
                </a:ext>
              </a:extLst>
            </p:cNvPr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098;p34">
              <a:extLst>
                <a:ext uri="{FF2B5EF4-FFF2-40B4-BE49-F238E27FC236}">
                  <a16:creationId xmlns:a16="http://schemas.microsoft.com/office/drawing/2014/main" id="{2ADBD743-7EE6-4F9E-9A71-DCED6926F116}"/>
                </a:ext>
              </a:extLst>
            </p:cNvPr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099;p34">
              <a:extLst>
                <a:ext uri="{FF2B5EF4-FFF2-40B4-BE49-F238E27FC236}">
                  <a16:creationId xmlns:a16="http://schemas.microsoft.com/office/drawing/2014/main" id="{4F8CA55A-C4BC-4163-83E8-6837BAA5C156}"/>
                </a:ext>
              </a:extLst>
            </p:cNvPr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100;p34">
              <a:extLst>
                <a:ext uri="{FF2B5EF4-FFF2-40B4-BE49-F238E27FC236}">
                  <a16:creationId xmlns:a16="http://schemas.microsoft.com/office/drawing/2014/main" id="{268D4942-46D1-4FE2-B3DB-FA3D99869EA1}"/>
                </a:ext>
              </a:extLst>
            </p:cNvPr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101;p34">
              <a:extLst>
                <a:ext uri="{FF2B5EF4-FFF2-40B4-BE49-F238E27FC236}">
                  <a16:creationId xmlns:a16="http://schemas.microsoft.com/office/drawing/2014/main" id="{D340A2F6-E6B4-400F-8B08-3080B132D885}"/>
                </a:ext>
              </a:extLst>
            </p:cNvPr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102;p34">
              <a:extLst>
                <a:ext uri="{FF2B5EF4-FFF2-40B4-BE49-F238E27FC236}">
                  <a16:creationId xmlns:a16="http://schemas.microsoft.com/office/drawing/2014/main" id="{2FB92CEF-0054-4267-A95D-8CCE48089252}"/>
                </a:ext>
              </a:extLst>
            </p:cNvPr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103;p34">
              <a:extLst>
                <a:ext uri="{FF2B5EF4-FFF2-40B4-BE49-F238E27FC236}">
                  <a16:creationId xmlns:a16="http://schemas.microsoft.com/office/drawing/2014/main" id="{AF403A69-FE30-43C2-81F0-B57142E62B3E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104;p34">
              <a:extLst>
                <a:ext uri="{FF2B5EF4-FFF2-40B4-BE49-F238E27FC236}">
                  <a16:creationId xmlns:a16="http://schemas.microsoft.com/office/drawing/2014/main" id="{4B2C4DF8-8BA5-473B-8DE8-592EC0E31254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105;p34">
              <a:extLst>
                <a:ext uri="{FF2B5EF4-FFF2-40B4-BE49-F238E27FC236}">
                  <a16:creationId xmlns:a16="http://schemas.microsoft.com/office/drawing/2014/main" id="{C07CB3D4-C83D-47D2-9E70-642A2388551D}"/>
                </a:ext>
              </a:extLst>
            </p:cNvPr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106;p34">
              <a:extLst>
                <a:ext uri="{FF2B5EF4-FFF2-40B4-BE49-F238E27FC236}">
                  <a16:creationId xmlns:a16="http://schemas.microsoft.com/office/drawing/2014/main" id="{F1AEE425-57ED-458D-AE09-6D388EF3196B}"/>
                </a:ext>
              </a:extLst>
            </p:cNvPr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107;p34">
              <a:extLst>
                <a:ext uri="{FF2B5EF4-FFF2-40B4-BE49-F238E27FC236}">
                  <a16:creationId xmlns:a16="http://schemas.microsoft.com/office/drawing/2014/main" id="{DD7D4974-A51C-48E5-BBEA-C6028AF1CDA0}"/>
                </a:ext>
              </a:extLst>
            </p:cNvPr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108;p34">
              <a:extLst>
                <a:ext uri="{FF2B5EF4-FFF2-40B4-BE49-F238E27FC236}">
                  <a16:creationId xmlns:a16="http://schemas.microsoft.com/office/drawing/2014/main" id="{20F49B82-7FBC-4EFF-AA6E-DEB881572213}"/>
                </a:ext>
              </a:extLst>
            </p:cNvPr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109;p34">
              <a:extLst>
                <a:ext uri="{FF2B5EF4-FFF2-40B4-BE49-F238E27FC236}">
                  <a16:creationId xmlns:a16="http://schemas.microsoft.com/office/drawing/2014/main" id="{E51A7456-F47C-4F50-91FA-E2CF2E79A02B}"/>
                </a:ext>
              </a:extLst>
            </p:cNvPr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110;p34">
              <a:extLst>
                <a:ext uri="{FF2B5EF4-FFF2-40B4-BE49-F238E27FC236}">
                  <a16:creationId xmlns:a16="http://schemas.microsoft.com/office/drawing/2014/main" id="{0B231B1B-AFB3-4B18-8455-39D2B1F5D200}"/>
                </a:ext>
              </a:extLst>
            </p:cNvPr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111;p34">
              <a:extLst>
                <a:ext uri="{FF2B5EF4-FFF2-40B4-BE49-F238E27FC236}">
                  <a16:creationId xmlns:a16="http://schemas.microsoft.com/office/drawing/2014/main" id="{36AD0972-608C-464F-9DBC-031114DDE5DE}"/>
                </a:ext>
              </a:extLst>
            </p:cNvPr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112;p34">
              <a:extLst>
                <a:ext uri="{FF2B5EF4-FFF2-40B4-BE49-F238E27FC236}">
                  <a16:creationId xmlns:a16="http://schemas.microsoft.com/office/drawing/2014/main" id="{6A0B3C20-EE3B-44A8-AA76-1391D60EDD0C}"/>
                </a:ext>
              </a:extLst>
            </p:cNvPr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113;p34">
              <a:extLst>
                <a:ext uri="{FF2B5EF4-FFF2-40B4-BE49-F238E27FC236}">
                  <a16:creationId xmlns:a16="http://schemas.microsoft.com/office/drawing/2014/main" id="{D4D72C7B-2E04-4357-A638-F83889825559}"/>
                </a:ext>
              </a:extLst>
            </p:cNvPr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114;p34">
              <a:extLst>
                <a:ext uri="{FF2B5EF4-FFF2-40B4-BE49-F238E27FC236}">
                  <a16:creationId xmlns:a16="http://schemas.microsoft.com/office/drawing/2014/main" id="{EBF6C404-E70F-4AF5-95D9-6F1442AFA6CE}"/>
                </a:ext>
              </a:extLst>
            </p:cNvPr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115;p34">
              <a:extLst>
                <a:ext uri="{FF2B5EF4-FFF2-40B4-BE49-F238E27FC236}">
                  <a16:creationId xmlns:a16="http://schemas.microsoft.com/office/drawing/2014/main" id="{77B9E761-FAF8-456C-8F6A-982CF1CA9577}"/>
                </a:ext>
              </a:extLst>
            </p:cNvPr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116;p34">
              <a:extLst>
                <a:ext uri="{FF2B5EF4-FFF2-40B4-BE49-F238E27FC236}">
                  <a16:creationId xmlns:a16="http://schemas.microsoft.com/office/drawing/2014/main" id="{C880C9A3-A2D0-446E-BB55-D11D312417AF}"/>
                </a:ext>
              </a:extLst>
            </p:cNvPr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117;p34">
              <a:extLst>
                <a:ext uri="{FF2B5EF4-FFF2-40B4-BE49-F238E27FC236}">
                  <a16:creationId xmlns:a16="http://schemas.microsoft.com/office/drawing/2014/main" id="{AA4B772F-4BCB-436B-A0F8-1149B6B61AF3}"/>
                </a:ext>
              </a:extLst>
            </p:cNvPr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9" name="Google Shape;2118;p34">
              <a:extLst>
                <a:ext uri="{FF2B5EF4-FFF2-40B4-BE49-F238E27FC236}">
                  <a16:creationId xmlns:a16="http://schemas.microsoft.com/office/drawing/2014/main" id="{6755A353-563F-4F14-AD0C-74D39821DA2A}"/>
                </a:ext>
              </a:extLst>
            </p:cNvPr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06" name="Google Shape;2119;p34">
                <a:extLst>
                  <a:ext uri="{FF2B5EF4-FFF2-40B4-BE49-F238E27FC236}">
                    <a16:creationId xmlns:a16="http://schemas.microsoft.com/office/drawing/2014/main" id="{124F0B0F-3BFD-44EE-BB5F-A57E79F4D0CF}"/>
                  </a:ext>
                </a:extLst>
              </p:cNvPr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7" name="Google Shape;2120;p34">
                  <a:extLst>
                    <a:ext uri="{FF2B5EF4-FFF2-40B4-BE49-F238E27FC236}">
                      <a16:creationId xmlns:a16="http://schemas.microsoft.com/office/drawing/2014/main" id="{686561C9-AA6B-4856-921A-163E59C1158A}"/>
                    </a:ext>
                  </a:extLst>
                </p:cNvPr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2121;p34">
                  <a:extLst>
                    <a:ext uri="{FF2B5EF4-FFF2-40B4-BE49-F238E27FC236}">
                      <a16:creationId xmlns:a16="http://schemas.microsoft.com/office/drawing/2014/main" id="{677C96FD-39B1-4C38-AEEF-6F49C72E2161}"/>
                    </a:ext>
                  </a:extLst>
                </p:cNvPr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2122;p34">
                  <a:extLst>
                    <a:ext uri="{FF2B5EF4-FFF2-40B4-BE49-F238E27FC236}">
                      <a16:creationId xmlns:a16="http://schemas.microsoft.com/office/drawing/2014/main" id="{B270D403-C2F2-4B8D-96A4-73102A044A3C}"/>
                    </a:ext>
                  </a:extLst>
                </p:cNvPr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20" name="Google Shape;2123;p34">
                  <a:extLst>
                    <a:ext uri="{FF2B5EF4-FFF2-40B4-BE49-F238E27FC236}">
                      <a16:creationId xmlns:a16="http://schemas.microsoft.com/office/drawing/2014/main" id="{A76B900A-5CC5-4021-AA7B-E3A50C6408FA}"/>
                    </a:ext>
                  </a:extLst>
                </p:cNvPr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85" name="Google Shape;2124;p34">
                    <a:extLst>
                      <a:ext uri="{FF2B5EF4-FFF2-40B4-BE49-F238E27FC236}">
                        <a16:creationId xmlns:a16="http://schemas.microsoft.com/office/drawing/2014/main" id="{3C9FA56D-F84E-41E4-B459-A21DBE117018}"/>
                      </a:ext>
                    </a:extLst>
                  </p:cNvPr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86" name="Google Shape;2125;p34">
                    <a:extLst>
                      <a:ext uri="{FF2B5EF4-FFF2-40B4-BE49-F238E27FC236}">
                        <a16:creationId xmlns:a16="http://schemas.microsoft.com/office/drawing/2014/main" id="{CD34D5FE-3735-499C-A9C5-092F17EF4593}"/>
                      </a:ext>
                    </a:extLst>
                  </p:cNvPr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21" name="Google Shape;2126;p34">
                  <a:extLst>
                    <a:ext uri="{FF2B5EF4-FFF2-40B4-BE49-F238E27FC236}">
                      <a16:creationId xmlns:a16="http://schemas.microsoft.com/office/drawing/2014/main" id="{E10A4B81-E2E4-479A-A645-7D59B5697E6E}"/>
                    </a:ext>
                  </a:extLst>
                </p:cNvPr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2127;p34">
                  <a:extLst>
                    <a:ext uri="{FF2B5EF4-FFF2-40B4-BE49-F238E27FC236}">
                      <a16:creationId xmlns:a16="http://schemas.microsoft.com/office/drawing/2014/main" id="{562BFB56-DD6C-4D1F-83FC-52D9929537FA}"/>
                    </a:ext>
                  </a:extLst>
                </p:cNvPr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2128;p34">
                  <a:extLst>
                    <a:ext uri="{FF2B5EF4-FFF2-40B4-BE49-F238E27FC236}">
                      <a16:creationId xmlns:a16="http://schemas.microsoft.com/office/drawing/2014/main" id="{F7D271AF-6949-49D6-AB86-FCB4A19B8E4D}"/>
                    </a:ext>
                  </a:extLst>
                </p:cNvPr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2129;p34">
                  <a:extLst>
                    <a:ext uri="{FF2B5EF4-FFF2-40B4-BE49-F238E27FC236}">
                      <a16:creationId xmlns:a16="http://schemas.microsoft.com/office/drawing/2014/main" id="{5D2D1CAF-1E53-48D5-A1B6-DD6637D8C4AB}"/>
                    </a:ext>
                  </a:extLst>
                </p:cNvPr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2130;p34">
                  <a:extLst>
                    <a:ext uri="{FF2B5EF4-FFF2-40B4-BE49-F238E27FC236}">
                      <a16:creationId xmlns:a16="http://schemas.microsoft.com/office/drawing/2014/main" id="{796F2423-E486-458E-BFF8-18A1AC4F890F}"/>
                    </a:ext>
                  </a:extLst>
                </p:cNvPr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2131;p34">
                  <a:extLst>
                    <a:ext uri="{FF2B5EF4-FFF2-40B4-BE49-F238E27FC236}">
                      <a16:creationId xmlns:a16="http://schemas.microsoft.com/office/drawing/2014/main" id="{55558CEC-933B-4574-83ED-FBD341DF66AE}"/>
                    </a:ext>
                  </a:extLst>
                </p:cNvPr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2132;p34">
                  <a:extLst>
                    <a:ext uri="{FF2B5EF4-FFF2-40B4-BE49-F238E27FC236}">
                      <a16:creationId xmlns:a16="http://schemas.microsoft.com/office/drawing/2014/main" id="{A9C5B39D-064E-49FE-B6D6-4364DA2F535C}"/>
                    </a:ext>
                  </a:extLst>
                </p:cNvPr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2133;p34">
                  <a:extLst>
                    <a:ext uri="{FF2B5EF4-FFF2-40B4-BE49-F238E27FC236}">
                      <a16:creationId xmlns:a16="http://schemas.microsoft.com/office/drawing/2014/main" id="{3B8262F0-EE72-4182-83D1-3E2E332BDC77}"/>
                    </a:ext>
                  </a:extLst>
                </p:cNvPr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2134;p34">
                  <a:extLst>
                    <a:ext uri="{FF2B5EF4-FFF2-40B4-BE49-F238E27FC236}">
                      <a16:creationId xmlns:a16="http://schemas.microsoft.com/office/drawing/2014/main" id="{7BC3480A-FE48-4CBD-9A2F-F6FC498BCA32}"/>
                    </a:ext>
                  </a:extLst>
                </p:cNvPr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2135;p34">
                  <a:extLst>
                    <a:ext uri="{FF2B5EF4-FFF2-40B4-BE49-F238E27FC236}">
                      <a16:creationId xmlns:a16="http://schemas.microsoft.com/office/drawing/2014/main" id="{3DADE979-F75E-4BA5-AF39-BFBE7A22C3D8}"/>
                    </a:ext>
                  </a:extLst>
                </p:cNvPr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2136;p34">
                  <a:extLst>
                    <a:ext uri="{FF2B5EF4-FFF2-40B4-BE49-F238E27FC236}">
                      <a16:creationId xmlns:a16="http://schemas.microsoft.com/office/drawing/2014/main" id="{CC457613-0F70-4BAC-BC40-03C31E058E98}"/>
                    </a:ext>
                  </a:extLst>
                </p:cNvPr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2137;p34">
                  <a:extLst>
                    <a:ext uri="{FF2B5EF4-FFF2-40B4-BE49-F238E27FC236}">
                      <a16:creationId xmlns:a16="http://schemas.microsoft.com/office/drawing/2014/main" id="{113327D5-D6A3-441C-8C84-C029525C958C}"/>
                    </a:ext>
                  </a:extLst>
                </p:cNvPr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2138;p34">
                  <a:extLst>
                    <a:ext uri="{FF2B5EF4-FFF2-40B4-BE49-F238E27FC236}">
                      <a16:creationId xmlns:a16="http://schemas.microsoft.com/office/drawing/2014/main" id="{5F060489-994D-40F7-847E-D97754A2ABB9}"/>
                    </a:ext>
                  </a:extLst>
                </p:cNvPr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2139;p34">
                  <a:extLst>
                    <a:ext uri="{FF2B5EF4-FFF2-40B4-BE49-F238E27FC236}">
                      <a16:creationId xmlns:a16="http://schemas.microsoft.com/office/drawing/2014/main" id="{72445FB3-8E01-45FB-B481-6DF75CD042EB}"/>
                    </a:ext>
                  </a:extLst>
                </p:cNvPr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2140;p34">
                  <a:extLst>
                    <a:ext uri="{FF2B5EF4-FFF2-40B4-BE49-F238E27FC236}">
                      <a16:creationId xmlns:a16="http://schemas.microsoft.com/office/drawing/2014/main" id="{C20512BA-8AA0-49E9-89C1-8B93AAE4A97F}"/>
                    </a:ext>
                  </a:extLst>
                </p:cNvPr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2141;p34">
                  <a:extLst>
                    <a:ext uri="{FF2B5EF4-FFF2-40B4-BE49-F238E27FC236}">
                      <a16:creationId xmlns:a16="http://schemas.microsoft.com/office/drawing/2014/main" id="{D3BB136D-87EC-4DFF-AF6A-C6D2329E2C7A}"/>
                    </a:ext>
                  </a:extLst>
                </p:cNvPr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2142;p34">
                  <a:extLst>
                    <a:ext uri="{FF2B5EF4-FFF2-40B4-BE49-F238E27FC236}">
                      <a16:creationId xmlns:a16="http://schemas.microsoft.com/office/drawing/2014/main" id="{554465A5-5265-43CE-B856-B925EF31F365}"/>
                    </a:ext>
                  </a:extLst>
                </p:cNvPr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2143;p34">
                  <a:extLst>
                    <a:ext uri="{FF2B5EF4-FFF2-40B4-BE49-F238E27FC236}">
                      <a16:creationId xmlns:a16="http://schemas.microsoft.com/office/drawing/2014/main" id="{C12B952F-4065-49C1-B70E-AFB87A8001AB}"/>
                    </a:ext>
                  </a:extLst>
                </p:cNvPr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2144;p34">
                  <a:extLst>
                    <a:ext uri="{FF2B5EF4-FFF2-40B4-BE49-F238E27FC236}">
                      <a16:creationId xmlns:a16="http://schemas.microsoft.com/office/drawing/2014/main" id="{D22ED611-C8BE-4F76-BE89-924348EFBA0A}"/>
                    </a:ext>
                  </a:extLst>
                </p:cNvPr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2145;p34">
                  <a:extLst>
                    <a:ext uri="{FF2B5EF4-FFF2-40B4-BE49-F238E27FC236}">
                      <a16:creationId xmlns:a16="http://schemas.microsoft.com/office/drawing/2014/main" id="{C0B785C9-F928-4909-BD2A-37B6F47730A8}"/>
                    </a:ext>
                  </a:extLst>
                </p:cNvPr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2146;p34">
                  <a:extLst>
                    <a:ext uri="{FF2B5EF4-FFF2-40B4-BE49-F238E27FC236}">
                      <a16:creationId xmlns:a16="http://schemas.microsoft.com/office/drawing/2014/main" id="{02425D9D-4055-4C54-ACFD-CA46E37CA4F8}"/>
                    </a:ext>
                  </a:extLst>
                </p:cNvPr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2147;p34">
                  <a:extLst>
                    <a:ext uri="{FF2B5EF4-FFF2-40B4-BE49-F238E27FC236}">
                      <a16:creationId xmlns:a16="http://schemas.microsoft.com/office/drawing/2014/main" id="{C25AEAB6-01D6-4ECD-BA70-743F28929A96}"/>
                    </a:ext>
                  </a:extLst>
                </p:cNvPr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2148;p34">
                  <a:extLst>
                    <a:ext uri="{FF2B5EF4-FFF2-40B4-BE49-F238E27FC236}">
                      <a16:creationId xmlns:a16="http://schemas.microsoft.com/office/drawing/2014/main" id="{9F1E8840-6E7F-413B-B615-70FC4CCFAA20}"/>
                    </a:ext>
                  </a:extLst>
                </p:cNvPr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2149;p34">
                  <a:extLst>
                    <a:ext uri="{FF2B5EF4-FFF2-40B4-BE49-F238E27FC236}">
                      <a16:creationId xmlns:a16="http://schemas.microsoft.com/office/drawing/2014/main" id="{F222D0C1-5E18-4F5A-A249-2DA78477E57C}"/>
                    </a:ext>
                  </a:extLst>
                </p:cNvPr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2150;p34">
                  <a:extLst>
                    <a:ext uri="{FF2B5EF4-FFF2-40B4-BE49-F238E27FC236}">
                      <a16:creationId xmlns:a16="http://schemas.microsoft.com/office/drawing/2014/main" id="{05762D0C-BA62-48B2-9D10-72420A1B2130}"/>
                    </a:ext>
                  </a:extLst>
                </p:cNvPr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2151;p34">
                  <a:extLst>
                    <a:ext uri="{FF2B5EF4-FFF2-40B4-BE49-F238E27FC236}">
                      <a16:creationId xmlns:a16="http://schemas.microsoft.com/office/drawing/2014/main" id="{CDF073E6-7FFB-4399-9067-5A02827921F4}"/>
                    </a:ext>
                  </a:extLst>
                </p:cNvPr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2152;p34">
                  <a:extLst>
                    <a:ext uri="{FF2B5EF4-FFF2-40B4-BE49-F238E27FC236}">
                      <a16:creationId xmlns:a16="http://schemas.microsoft.com/office/drawing/2014/main" id="{A2909AD4-F4BC-4524-B046-0636AA1E4893}"/>
                    </a:ext>
                  </a:extLst>
                </p:cNvPr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8" name="Google Shape;2153;p34">
                  <a:extLst>
                    <a:ext uri="{FF2B5EF4-FFF2-40B4-BE49-F238E27FC236}">
                      <a16:creationId xmlns:a16="http://schemas.microsoft.com/office/drawing/2014/main" id="{30E12347-D80E-45A3-93E8-7DE22A43EF0D}"/>
                    </a:ext>
                  </a:extLst>
                </p:cNvPr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9" name="Google Shape;2154;p34">
                  <a:extLst>
                    <a:ext uri="{FF2B5EF4-FFF2-40B4-BE49-F238E27FC236}">
                      <a16:creationId xmlns:a16="http://schemas.microsoft.com/office/drawing/2014/main" id="{8866BCEE-311E-42BA-A2C8-5DA0EEFFD60D}"/>
                    </a:ext>
                  </a:extLst>
                </p:cNvPr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0" name="Google Shape;2155;p34">
                  <a:extLst>
                    <a:ext uri="{FF2B5EF4-FFF2-40B4-BE49-F238E27FC236}">
                      <a16:creationId xmlns:a16="http://schemas.microsoft.com/office/drawing/2014/main" id="{853B364F-35F2-4B7F-8729-8672C37B157F}"/>
                    </a:ext>
                  </a:extLst>
                </p:cNvPr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1" name="Google Shape;2156;p34">
                  <a:extLst>
                    <a:ext uri="{FF2B5EF4-FFF2-40B4-BE49-F238E27FC236}">
                      <a16:creationId xmlns:a16="http://schemas.microsoft.com/office/drawing/2014/main" id="{7F4D9F8B-E055-483B-9573-465320D7668B}"/>
                    </a:ext>
                  </a:extLst>
                </p:cNvPr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2" name="Google Shape;2157;p34">
                  <a:extLst>
                    <a:ext uri="{FF2B5EF4-FFF2-40B4-BE49-F238E27FC236}">
                      <a16:creationId xmlns:a16="http://schemas.microsoft.com/office/drawing/2014/main" id="{B62E8719-5CD0-4E7C-94A0-71261A7E8515}"/>
                    </a:ext>
                  </a:extLst>
                </p:cNvPr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3" name="Google Shape;2158;p34">
                  <a:extLst>
                    <a:ext uri="{FF2B5EF4-FFF2-40B4-BE49-F238E27FC236}">
                      <a16:creationId xmlns:a16="http://schemas.microsoft.com/office/drawing/2014/main" id="{3234A305-71F7-4B31-86D0-4F3BF3EDF023}"/>
                    </a:ext>
                  </a:extLst>
                </p:cNvPr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4" name="Google Shape;2159;p34">
                  <a:extLst>
                    <a:ext uri="{FF2B5EF4-FFF2-40B4-BE49-F238E27FC236}">
                      <a16:creationId xmlns:a16="http://schemas.microsoft.com/office/drawing/2014/main" id="{98E71FE1-653D-4542-870D-2BBCFB812B9A}"/>
                    </a:ext>
                  </a:extLst>
                </p:cNvPr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5" name="Google Shape;2160;p34">
                  <a:extLst>
                    <a:ext uri="{FF2B5EF4-FFF2-40B4-BE49-F238E27FC236}">
                      <a16:creationId xmlns:a16="http://schemas.microsoft.com/office/drawing/2014/main" id="{4D813DDB-5C13-4BE3-984C-A9EE6D31D3D4}"/>
                    </a:ext>
                  </a:extLst>
                </p:cNvPr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6" name="Google Shape;2161;p34">
                  <a:extLst>
                    <a:ext uri="{FF2B5EF4-FFF2-40B4-BE49-F238E27FC236}">
                      <a16:creationId xmlns:a16="http://schemas.microsoft.com/office/drawing/2014/main" id="{21DA274E-7410-469F-B5AD-47584F83A5B3}"/>
                    </a:ext>
                  </a:extLst>
                </p:cNvPr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7" name="Google Shape;2162;p34">
                  <a:extLst>
                    <a:ext uri="{FF2B5EF4-FFF2-40B4-BE49-F238E27FC236}">
                      <a16:creationId xmlns:a16="http://schemas.microsoft.com/office/drawing/2014/main" id="{E60715FB-ADB6-46F3-A94C-2A160B282CAC}"/>
                    </a:ext>
                  </a:extLst>
                </p:cNvPr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8" name="Google Shape;2163;p34">
                  <a:extLst>
                    <a:ext uri="{FF2B5EF4-FFF2-40B4-BE49-F238E27FC236}">
                      <a16:creationId xmlns:a16="http://schemas.microsoft.com/office/drawing/2014/main" id="{D85D3B3F-278C-4DBF-8F5E-5B8FA7CC0F97}"/>
                    </a:ext>
                  </a:extLst>
                </p:cNvPr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9" name="Google Shape;2164;p34">
                  <a:extLst>
                    <a:ext uri="{FF2B5EF4-FFF2-40B4-BE49-F238E27FC236}">
                      <a16:creationId xmlns:a16="http://schemas.microsoft.com/office/drawing/2014/main" id="{4F0BFDD1-E1D5-4460-AFD6-7B1074790915}"/>
                    </a:ext>
                  </a:extLst>
                </p:cNvPr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0" name="Google Shape;2165;p34">
                  <a:extLst>
                    <a:ext uri="{FF2B5EF4-FFF2-40B4-BE49-F238E27FC236}">
                      <a16:creationId xmlns:a16="http://schemas.microsoft.com/office/drawing/2014/main" id="{97AAD260-096F-4C6E-8487-670886E34F59}"/>
                    </a:ext>
                  </a:extLst>
                </p:cNvPr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1" name="Google Shape;2166;p34">
                  <a:extLst>
                    <a:ext uri="{FF2B5EF4-FFF2-40B4-BE49-F238E27FC236}">
                      <a16:creationId xmlns:a16="http://schemas.microsoft.com/office/drawing/2014/main" id="{CF03BAA4-AD2D-4116-A39A-BBD68DE72C78}"/>
                    </a:ext>
                  </a:extLst>
                </p:cNvPr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2" name="Google Shape;2167;p34">
                  <a:extLst>
                    <a:ext uri="{FF2B5EF4-FFF2-40B4-BE49-F238E27FC236}">
                      <a16:creationId xmlns:a16="http://schemas.microsoft.com/office/drawing/2014/main" id="{B5A09B25-0176-4BFE-BEDC-601807E5D95E}"/>
                    </a:ext>
                  </a:extLst>
                </p:cNvPr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3" name="Google Shape;2168;p34">
                  <a:extLst>
                    <a:ext uri="{FF2B5EF4-FFF2-40B4-BE49-F238E27FC236}">
                      <a16:creationId xmlns:a16="http://schemas.microsoft.com/office/drawing/2014/main" id="{20DC31E4-108F-4977-BFD5-3BFA56D1D5ED}"/>
                    </a:ext>
                  </a:extLst>
                </p:cNvPr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4" name="Google Shape;2169;p34">
                  <a:extLst>
                    <a:ext uri="{FF2B5EF4-FFF2-40B4-BE49-F238E27FC236}">
                      <a16:creationId xmlns:a16="http://schemas.microsoft.com/office/drawing/2014/main" id="{39875552-B1B8-4C23-AC15-BCA926945234}"/>
                    </a:ext>
                  </a:extLst>
                </p:cNvPr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5" name="Google Shape;2170;p34">
                  <a:extLst>
                    <a:ext uri="{FF2B5EF4-FFF2-40B4-BE49-F238E27FC236}">
                      <a16:creationId xmlns:a16="http://schemas.microsoft.com/office/drawing/2014/main" id="{DA95887B-5B0E-486A-9A69-465332C1835D}"/>
                    </a:ext>
                  </a:extLst>
                </p:cNvPr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6" name="Google Shape;2171;p34">
                  <a:extLst>
                    <a:ext uri="{FF2B5EF4-FFF2-40B4-BE49-F238E27FC236}">
                      <a16:creationId xmlns:a16="http://schemas.microsoft.com/office/drawing/2014/main" id="{A4F32FA9-25C2-4A54-823F-95F7CC8124B0}"/>
                    </a:ext>
                  </a:extLst>
                </p:cNvPr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7" name="Google Shape;2172;p34">
                  <a:extLst>
                    <a:ext uri="{FF2B5EF4-FFF2-40B4-BE49-F238E27FC236}">
                      <a16:creationId xmlns:a16="http://schemas.microsoft.com/office/drawing/2014/main" id="{39A84835-78FD-437E-918E-3C9FF8C150B9}"/>
                    </a:ext>
                  </a:extLst>
                </p:cNvPr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8" name="Google Shape;2173;p34">
                  <a:extLst>
                    <a:ext uri="{FF2B5EF4-FFF2-40B4-BE49-F238E27FC236}">
                      <a16:creationId xmlns:a16="http://schemas.microsoft.com/office/drawing/2014/main" id="{90A6C6FA-0DC5-449A-BD99-B7C29021869D}"/>
                    </a:ext>
                  </a:extLst>
                </p:cNvPr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9" name="Google Shape;2174;p34">
                  <a:extLst>
                    <a:ext uri="{FF2B5EF4-FFF2-40B4-BE49-F238E27FC236}">
                      <a16:creationId xmlns:a16="http://schemas.microsoft.com/office/drawing/2014/main" id="{EC1396B1-E6F1-454B-A795-2CB160F33568}"/>
                    </a:ext>
                  </a:extLst>
                </p:cNvPr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0" name="Google Shape;2175;p34">
                  <a:extLst>
                    <a:ext uri="{FF2B5EF4-FFF2-40B4-BE49-F238E27FC236}">
                      <a16:creationId xmlns:a16="http://schemas.microsoft.com/office/drawing/2014/main" id="{C4C19A8B-D323-4831-8AAB-EC782BA75ABE}"/>
                    </a:ext>
                  </a:extLst>
                </p:cNvPr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1" name="Google Shape;2176;p34">
                  <a:extLst>
                    <a:ext uri="{FF2B5EF4-FFF2-40B4-BE49-F238E27FC236}">
                      <a16:creationId xmlns:a16="http://schemas.microsoft.com/office/drawing/2014/main" id="{CE6725B1-48ED-433A-8E6A-C4D4D7AF6127}"/>
                    </a:ext>
                  </a:extLst>
                </p:cNvPr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2" name="Google Shape;2177;p34">
                  <a:extLst>
                    <a:ext uri="{FF2B5EF4-FFF2-40B4-BE49-F238E27FC236}">
                      <a16:creationId xmlns:a16="http://schemas.microsoft.com/office/drawing/2014/main" id="{6D2C7877-AEA5-484A-AF3C-8B529158852E}"/>
                    </a:ext>
                  </a:extLst>
                </p:cNvPr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3" name="Google Shape;2178;p34">
                  <a:extLst>
                    <a:ext uri="{FF2B5EF4-FFF2-40B4-BE49-F238E27FC236}">
                      <a16:creationId xmlns:a16="http://schemas.microsoft.com/office/drawing/2014/main" id="{56E17C0F-9911-4E7E-8C95-387C45054DCA}"/>
                    </a:ext>
                  </a:extLst>
                </p:cNvPr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4" name="Google Shape;2179;p34">
                  <a:extLst>
                    <a:ext uri="{FF2B5EF4-FFF2-40B4-BE49-F238E27FC236}">
                      <a16:creationId xmlns:a16="http://schemas.microsoft.com/office/drawing/2014/main" id="{67ABF7DF-AFFB-416B-8D33-2CA35C187EF7}"/>
                    </a:ext>
                  </a:extLst>
                </p:cNvPr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5" name="Google Shape;2180;p34">
                  <a:extLst>
                    <a:ext uri="{FF2B5EF4-FFF2-40B4-BE49-F238E27FC236}">
                      <a16:creationId xmlns:a16="http://schemas.microsoft.com/office/drawing/2014/main" id="{42D4C2EA-3C9C-440F-8F9C-B3BD4D181659}"/>
                    </a:ext>
                  </a:extLst>
                </p:cNvPr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6" name="Google Shape;2181;p34">
                  <a:extLst>
                    <a:ext uri="{FF2B5EF4-FFF2-40B4-BE49-F238E27FC236}">
                      <a16:creationId xmlns:a16="http://schemas.microsoft.com/office/drawing/2014/main" id="{0129E856-9D3F-4A4D-8215-6974F21802EF}"/>
                    </a:ext>
                  </a:extLst>
                </p:cNvPr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7" name="Google Shape;2182;p34">
                  <a:extLst>
                    <a:ext uri="{FF2B5EF4-FFF2-40B4-BE49-F238E27FC236}">
                      <a16:creationId xmlns:a16="http://schemas.microsoft.com/office/drawing/2014/main" id="{B273C575-3D5A-403A-AC68-6EC64B5BCA36}"/>
                    </a:ext>
                  </a:extLst>
                </p:cNvPr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8" name="Google Shape;2183;p34">
                  <a:extLst>
                    <a:ext uri="{FF2B5EF4-FFF2-40B4-BE49-F238E27FC236}">
                      <a16:creationId xmlns:a16="http://schemas.microsoft.com/office/drawing/2014/main" id="{02B9B5DB-5CF7-46B1-89F3-4F1B2E8B6DB7}"/>
                    </a:ext>
                  </a:extLst>
                </p:cNvPr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9" name="Google Shape;2184;p34">
                  <a:extLst>
                    <a:ext uri="{FF2B5EF4-FFF2-40B4-BE49-F238E27FC236}">
                      <a16:creationId xmlns:a16="http://schemas.microsoft.com/office/drawing/2014/main" id="{36076D64-050B-434F-8727-E690DED63234}"/>
                    </a:ext>
                  </a:extLst>
                </p:cNvPr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0" name="Google Shape;2185;p34">
                  <a:extLst>
                    <a:ext uri="{FF2B5EF4-FFF2-40B4-BE49-F238E27FC236}">
                      <a16:creationId xmlns:a16="http://schemas.microsoft.com/office/drawing/2014/main" id="{5D95F0ED-0773-4916-853E-8E6EB6C29758}"/>
                    </a:ext>
                  </a:extLst>
                </p:cNvPr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1" name="Google Shape;2186;p34">
                  <a:extLst>
                    <a:ext uri="{FF2B5EF4-FFF2-40B4-BE49-F238E27FC236}">
                      <a16:creationId xmlns:a16="http://schemas.microsoft.com/office/drawing/2014/main" id="{D22C4244-C12F-4CCE-80BA-859B532CB6A4}"/>
                    </a:ext>
                  </a:extLst>
                </p:cNvPr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2" name="Google Shape;2187;p34">
                  <a:extLst>
                    <a:ext uri="{FF2B5EF4-FFF2-40B4-BE49-F238E27FC236}">
                      <a16:creationId xmlns:a16="http://schemas.microsoft.com/office/drawing/2014/main" id="{AC10F7E2-6D87-47C6-84ED-7083C07E6240}"/>
                    </a:ext>
                  </a:extLst>
                </p:cNvPr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3" name="Google Shape;2188;p34">
                  <a:extLst>
                    <a:ext uri="{FF2B5EF4-FFF2-40B4-BE49-F238E27FC236}">
                      <a16:creationId xmlns:a16="http://schemas.microsoft.com/office/drawing/2014/main" id="{0FB59AB0-A072-4229-A608-4E45EB4592EA}"/>
                    </a:ext>
                  </a:extLst>
                </p:cNvPr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4" name="Google Shape;2189;p34">
                  <a:extLst>
                    <a:ext uri="{FF2B5EF4-FFF2-40B4-BE49-F238E27FC236}">
                      <a16:creationId xmlns:a16="http://schemas.microsoft.com/office/drawing/2014/main" id="{2539FCE9-7863-45B0-8BCF-2D382343C03A}"/>
                    </a:ext>
                  </a:extLst>
                </p:cNvPr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07" name="Google Shape;2190;p34">
                <a:extLst>
                  <a:ext uri="{FF2B5EF4-FFF2-40B4-BE49-F238E27FC236}">
                    <a16:creationId xmlns:a16="http://schemas.microsoft.com/office/drawing/2014/main" id="{8E3A928B-7785-47D2-8B1F-791B2B2F534D}"/>
                  </a:ext>
                </a:extLst>
              </p:cNvPr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08" name="Google Shape;2191;p34">
                  <a:extLst>
                    <a:ext uri="{FF2B5EF4-FFF2-40B4-BE49-F238E27FC236}">
                      <a16:creationId xmlns:a16="http://schemas.microsoft.com/office/drawing/2014/main" id="{7D42F1F6-260D-4516-841B-53F70162F626}"/>
                    </a:ext>
                  </a:extLst>
                </p:cNvPr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2" name="Google Shape;2192;p34">
                    <a:extLst>
                      <a:ext uri="{FF2B5EF4-FFF2-40B4-BE49-F238E27FC236}">
                        <a16:creationId xmlns:a16="http://schemas.microsoft.com/office/drawing/2014/main" id="{45591A6D-BEB8-40E6-8E48-56B45CEC3A13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3" name="Google Shape;2193;p34">
                    <a:extLst>
                      <a:ext uri="{FF2B5EF4-FFF2-40B4-BE49-F238E27FC236}">
                        <a16:creationId xmlns:a16="http://schemas.microsoft.com/office/drawing/2014/main" id="{8A319791-0586-4FFD-96BB-D89BC6C4AA5E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4" name="Google Shape;2194;p34">
                    <a:extLst>
                      <a:ext uri="{FF2B5EF4-FFF2-40B4-BE49-F238E27FC236}">
                        <a16:creationId xmlns:a16="http://schemas.microsoft.com/office/drawing/2014/main" id="{6F71F9F0-49B5-4951-87E1-D1822672524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5" name="Google Shape;2195;p34">
                    <a:extLst>
                      <a:ext uri="{FF2B5EF4-FFF2-40B4-BE49-F238E27FC236}">
                        <a16:creationId xmlns:a16="http://schemas.microsoft.com/office/drawing/2014/main" id="{68E82990-96AB-42AA-99CC-577C9F2F886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6" name="Google Shape;2196;p34">
                    <a:extLst>
                      <a:ext uri="{FF2B5EF4-FFF2-40B4-BE49-F238E27FC236}">
                        <a16:creationId xmlns:a16="http://schemas.microsoft.com/office/drawing/2014/main" id="{24E8B3E5-55C1-4671-AC4C-D8253EA4BC8A}"/>
                      </a:ext>
                    </a:extLst>
                  </p:cNvPr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09" name="Google Shape;2197;p34">
                  <a:extLst>
                    <a:ext uri="{FF2B5EF4-FFF2-40B4-BE49-F238E27FC236}">
                      <a16:creationId xmlns:a16="http://schemas.microsoft.com/office/drawing/2014/main" id="{BDA9C880-6435-4FC5-AFC3-B8FC9252C79E}"/>
                    </a:ext>
                  </a:extLst>
                </p:cNvPr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2198;p34">
                  <a:extLst>
                    <a:ext uri="{FF2B5EF4-FFF2-40B4-BE49-F238E27FC236}">
                      <a16:creationId xmlns:a16="http://schemas.microsoft.com/office/drawing/2014/main" id="{3B176100-956F-43E3-B02B-19ADE898B476}"/>
                    </a:ext>
                  </a:extLst>
                </p:cNvPr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2199;p34">
                  <a:extLst>
                    <a:ext uri="{FF2B5EF4-FFF2-40B4-BE49-F238E27FC236}">
                      <a16:creationId xmlns:a16="http://schemas.microsoft.com/office/drawing/2014/main" id="{81E10A64-C3DE-428A-8456-CC3C034958F1}"/>
                    </a:ext>
                  </a:extLst>
                </p:cNvPr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00" name="Google Shape;2200;p34">
              <a:extLst>
                <a:ext uri="{FF2B5EF4-FFF2-40B4-BE49-F238E27FC236}">
                  <a16:creationId xmlns:a16="http://schemas.microsoft.com/office/drawing/2014/main" id="{4F5D8673-1D24-434A-B6F6-0FF162C221A5}"/>
                </a:ext>
              </a:extLst>
            </p:cNvPr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01;p34">
              <a:extLst>
                <a:ext uri="{FF2B5EF4-FFF2-40B4-BE49-F238E27FC236}">
                  <a16:creationId xmlns:a16="http://schemas.microsoft.com/office/drawing/2014/main" id="{74FBA9D9-EF9F-40C6-A858-87F032E69D7E}"/>
                </a:ext>
              </a:extLst>
            </p:cNvPr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02;p34">
              <a:extLst>
                <a:ext uri="{FF2B5EF4-FFF2-40B4-BE49-F238E27FC236}">
                  <a16:creationId xmlns:a16="http://schemas.microsoft.com/office/drawing/2014/main" id="{05A5161C-00DD-4D36-AA56-90DB867382CF}"/>
                </a:ext>
              </a:extLst>
            </p:cNvPr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03;p34">
              <a:extLst>
                <a:ext uri="{FF2B5EF4-FFF2-40B4-BE49-F238E27FC236}">
                  <a16:creationId xmlns:a16="http://schemas.microsoft.com/office/drawing/2014/main" id="{3E501264-CCAA-4DCB-9DBA-DABA2D2DB58A}"/>
                </a:ext>
              </a:extLst>
            </p:cNvPr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04;p34">
              <a:extLst>
                <a:ext uri="{FF2B5EF4-FFF2-40B4-BE49-F238E27FC236}">
                  <a16:creationId xmlns:a16="http://schemas.microsoft.com/office/drawing/2014/main" id="{DF52C575-A358-4473-A925-CF2665F1A7B1}"/>
                </a:ext>
              </a:extLst>
            </p:cNvPr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05;p34">
              <a:extLst>
                <a:ext uri="{FF2B5EF4-FFF2-40B4-BE49-F238E27FC236}">
                  <a16:creationId xmlns:a16="http://schemas.microsoft.com/office/drawing/2014/main" id="{A7FEBFE1-EEF5-4AA8-8FE5-9F45DABA938D}"/>
                </a:ext>
              </a:extLst>
            </p:cNvPr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Domain extension (e.g. indeed.ca)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401E47C5-8EF9-4704-9209-3BF2CABAF113}"/>
              </a:ext>
            </a:extLst>
          </p:cNvPr>
          <p:cNvSpPr/>
          <p:nvPr/>
        </p:nvSpPr>
        <p:spPr>
          <a:xfrm>
            <a:off x="5453650" y="428313"/>
            <a:ext cx="2036648" cy="128303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Challenges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17B633-DF38-4E5F-96FD-B7B95A0E11A1}"/>
              </a:ext>
            </a:extLst>
          </p:cNvPr>
          <p:cNvSpPr txBox="1"/>
          <p:nvPr/>
        </p:nvSpPr>
        <p:spPr>
          <a:xfrm>
            <a:off x="4676407" y="2884715"/>
            <a:ext cx="2944882" cy="116955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CA" u="sng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Solutions: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1/ Random Time delays 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2/ Different User Agent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3/ Multiple proxies (http)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4/ VP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66FF3D-C637-4E8A-B391-FF06EF626B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0684" y="3831064"/>
            <a:ext cx="2062288" cy="10827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6</TotalTime>
  <Words>1393</Words>
  <Application>Microsoft Office PowerPoint</Application>
  <PresentationFormat>全屏显示(16:9)</PresentationFormat>
  <Paragraphs>214</Paragraphs>
  <Slides>27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40" baseType="lpstr">
      <vt:lpstr>Calibri</vt:lpstr>
      <vt:lpstr>Wingdings</vt:lpstr>
      <vt:lpstr>Arial</vt:lpstr>
      <vt:lpstr>Barlow SemiBold</vt:lpstr>
      <vt:lpstr>Barlow</vt:lpstr>
      <vt:lpstr>Raleway</vt:lpstr>
      <vt:lpstr>Georgia</vt:lpstr>
      <vt:lpstr>Montserrat</vt:lpstr>
      <vt:lpstr>Raleway Thin</vt:lpstr>
      <vt:lpstr>Barlow Light</vt:lpstr>
      <vt:lpstr>Courier New</vt:lpstr>
      <vt:lpstr>Gaoler template</vt:lpstr>
      <vt:lpstr>think-cell Slide</vt:lpstr>
      <vt:lpstr>Data Science  Jobs Market</vt:lpstr>
      <vt:lpstr>Agenda</vt:lpstr>
      <vt:lpstr>Project motivation</vt:lpstr>
      <vt:lpstr>PowerPoint 演示文稿</vt:lpstr>
      <vt:lpstr>Objectives</vt:lpstr>
      <vt:lpstr>ETL Process</vt:lpstr>
      <vt:lpstr>Assumptions</vt:lpstr>
      <vt:lpstr>Extraction</vt:lpstr>
      <vt:lpstr>Transformation</vt:lpstr>
      <vt:lpstr>Load</vt:lpstr>
      <vt:lpstr>Relational Database</vt:lpstr>
      <vt:lpstr>Dashboard Creation Process</vt:lpstr>
      <vt:lpstr>Screenshot of the dashboard</vt:lpstr>
      <vt:lpstr>Apps Structure</vt:lpstr>
      <vt:lpstr>Dashboard Design</vt:lpstr>
      <vt:lpstr>Results</vt:lpstr>
      <vt:lpstr>PowerPoint 演示文稿</vt:lpstr>
      <vt:lpstr>Summary of Insights</vt:lpstr>
      <vt:lpstr>9,871</vt:lpstr>
      <vt:lpstr>Summary</vt:lpstr>
      <vt:lpstr>PowerPoint 演示文稿</vt:lpstr>
      <vt:lpstr>PowerPoint 演示文稿</vt:lpstr>
      <vt:lpstr>Repositorie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Kelvin Tang</cp:lastModifiedBy>
  <cp:revision>24</cp:revision>
  <dcterms:modified xsi:type="dcterms:W3CDTF">2021-02-19T00:49:31Z</dcterms:modified>
</cp:coreProperties>
</file>